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4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5.xml" ContentType="application/vnd.openxmlformats-officedocument.presentationml.notesSlide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notesSlides/notesSlide7.xml" ContentType="application/vnd.openxmlformats-officedocument.presentationml.notesSlide+xml"/>
  <Override PartName="/ppt/tags/tag45.xml" ContentType="application/vnd.openxmlformats-officedocument.presentationml.tags+xml"/>
  <Override PartName="/ppt/notesSlides/notesSlide8.xml" ContentType="application/vnd.openxmlformats-officedocument.presentationml.notesSlide+xml"/>
  <Override PartName="/ppt/tags/tag46.xml" ContentType="application/vnd.openxmlformats-officedocument.presentationml.tags+xml"/>
  <Override PartName="/ppt/notesSlides/notesSlide9.xml" ContentType="application/vnd.openxmlformats-officedocument.presentationml.notesSlide+xml"/>
  <Override PartName="/ppt/tags/tag47.xml" ContentType="application/vnd.openxmlformats-officedocument.presentationml.tags+xml"/>
  <Override PartName="/ppt/notesSlides/notesSlide10.xml" ContentType="application/vnd.openxmlformats-officedocument.presentationml.notesSlide+xml"/>
  <Override PartName="/ppt/tags/tag48.xml" ContentType="application/vnd.openxmlformats-officedocument.presentationml.tags+xml"/>
  <Override PartName="/ppt/notesSlides/notesSlide11.xml" ContentType="application/vnd.openxmlformats-officedocument.presentationml.notesSlide+xml"/>
  <Override PartName="/ppt/tags/tag49.xml" ContentType="application/vnd.openxmlformats-officedocument.presentationml.tags+xml"/>
  <Override PartName="/ppt/notesSlides/notesSlide12.xml" ContentType="application/vnd.openxmlformats-officedocument.presentationml.notesSlide+xml"/>
  <Override PartName="/ppt/tags/tag50.xml" ContentType="application/vnd.openxmlformats-officedocument.presentationml.tags+xml"/>
  <Override PartName="/ppt/notesSlides/notesSlide13.xml" ContentType="application/vnd.openxmlformats-officedocument.presentationml.notesSlide+xml"/>
  <Override PartName="/ppt/tags/tag51.xml" ContentType="application/vnd.openxmlformats-officedocument.presentationml.tags+xml"/>
  <Override PartName="/ppt/notesSlides/notesSlide14.xml" ContentType="application/vnd.openxmlformats-officedocument.presentationml.notesSlide+xml"/>
  <Override PartName="/ppt/tags/tag52.xml" ContentType="application/vnd.openxmlformats-officedocument.presentationml.tags+xml"/>
  <Override PartName="/ppt/notesSlides/notesSlide15.xml" ContentType="application/vnd.openxmlformats-officedocument.presentationml.notesSlide+xml"/>
  <Override PartName="/ppt/tags/tag53.xml" ContentType="application/vnd.openxmlformats-officedocument.presentationml.tags+xml"/>
  <Override PartName="/ppt/notesSlides/notesSlide16.xml" ContentType="application/vnd.openxmlformats-officedocument.presentationml.notesSlide+xml"/>
  <Override PartName="/ppt/tags/tag54.xml" ContentType="application/vnd.openxmlformats-officedocument.presentationml.tags+xml"/>
  <Override PartName="/ppt/notesSlides/notesSlide17.xml" ContentType="application/vnd.openxmlformats-officedocument.presentationml.notesSlide+xml"/>
  <Override PartName="/ppt/tags/tag55.xml" ContentType="application/vnd.openxmlformats-officedocument.presentationml.tags+xml"/>
  <Override PartName="/ppt/notesSlides/notesSlide18.xml" ContentType="application/vnd.openxmlformats-officedocument.presentationml.notesSlide+xml"/>
  <Override PartName="/ppt/tags/tag56.xml" ContentType="application/vnd.openxmlformats-officedocument.presentationml.tags+xml"/>
  <Override PartName="/ppt/notesSlides/notesSlide19.xml" ContentType="application/vnd.openxmlformats-officedocument.presentationml.notesSlide+xml"/>
  <Override PartName="/ppt/tags/tag57.xml" ContentType="application/vnd.openxmlformats-officedocument.presentationml.tags+xml"/>
  <Override PartName="/ppt/notesSlides/notesSlide20.xml" ContentType="application/vnd.openxmlformats-officedocument.presentationml.notesSlide+xml"/>
  <Override PartName="/ppt/tags/tag58.xml" ContentType="application/vnd.openxmlformats-officedocument.presentationml.tags+xml"/>
  <Override PartName="/ppt/notesSlides/notesSlide21.xml" ContentType="application/vnd.openxmlformats-officedocument.presentationml.notesSlide+xml"/>
  <Override PartName="/ppt/tags/tag59.xml" ContentType="application/vnd.openxmlformats-officedocument.presentationml.tags+xml"/>
  <Override PartName="/ppt/notesSlides/notesSlide22.xml" ContentType="application/vnd.openxmlformats-officedocument.presentationml.notesSlide+xml"/>
  <Override PartName="/ppt/tags/tag60.xml" ContentType="application/vnd.openxmlformats-officedocument.presentationml.tags+xml"/>
  <Override PartName="/ppt/notesSlides/notesSlide23.xml" ContentType="application/vnd.openxmlformats-officedocument.presentationml.notesSlide+xml"/>
  <Override PartName="/ppt/tags/tag61.xml" ContentType="application/vnd.openxmlformats-officedocument.presentationml.tags+xml"/>
  <Override PartName="/ppt/notesSlides/notesSlide24.xml" ContentType="application/vnd.openxmlformats-officedocument.presentationml.notesSlide+xml"/>
  <Override PartName="/ppt/tags/tag62.xml" ContentType="application/vnd.openxmlformats-officedocument.presentationml.tags+xml"/>
  <Override PartName="/ppt/notesSlides/notesSlide25.xml" ContentType="application/vnd.openxmlformats-officedocument.presentationml.notesSlide+xml"/>
  <Override PartName="/ppt/tags/tag63.xml" ContentType="application/vnd.openxmlformats-officedocument.presentationml.tags+xml"/>
  <Override PartName="/ppt/notesSlides/notesSlide26.xml" ContentType="application/vnd.openxmlformats-officedocument.presentationml.notesSlide+xml"/>
  <Override PartName="/ppt/tags/tag64.xml" ContentType="application/vnd.openxmlformats-officedocument.presentationml.tags+xml"/>
  <Override PartName="/ppt/notesSlides/notesSlide27.xml" ContentType="application/vnd.openxmlformats-officedocument.presentationml.notesSlide+xml"/>
  <Override PartName="/ppt/tags/tag65.xml" ContentType="application/vnd.openxmlformats-officedocument.presentationml.tags+xml"/>
  <Override PartName="/ppt/notesSlides/notesSlide28.xml" ContentType="application/vnd.openxmlformats-officedocument.presentationml.notesSlide+xml"/>
  <Override PartName="/ppt/tags/tag66.xml" ContentType="application/vnd.openxmlformats-officedocument.presentationml.tags+xml"/>
  <Override PartName="/ppt/notesSlides/notesSlide29.xml" ContentType="application/vnd.openxmlformats-officedocument.presentationml.notesSlide+xml"/>
  <Override PartName="/ppt/tags/tag67.xml" ContentType="application/vnd.openxmlformats-officedocument.presentationml.tags+xml"/>
  <Override PartName="/ppt/notesSlides/notesSlide30.xml" ContentType="application/vnd.openxmlformats-officedocument.presentationml.notesSlide+xml"/>
  <Override PartName="/ppt/tags/tag68.xml" ContentType="application/vnd.openxmlformats-officedocument.presentationml.tags+xml"/>
  <Override PartName="/ppt/notesSlides/notesSlide31.xml" ContentType="application/vnd.openxmlformats-officedocument.presentationml.notesSlide+xml"/>
  <Override PartName="/ppt/tags/tag69.xml" ContentType="application/vnd.openxmlformats-officedocument.presentationml.tags+xml"/>
  <Override PartName="/ppt/notesSlides/notesSlide32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3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4"/>
  </p:notesMasterIdLst>
  <p:handoutMasterIdLst>
    <p:handoutMasterId r:id="rId45"/>
  </p:handoutMasterIdLst>
  <p:sldIdLst>
    <p:sldId id="281" r:id="rId2"/>
    <p:sldId id="345" r:id="rId3"/>
    <p:sldId id="346" r:id="rId4"/>
    <p:sldId id="347" r:id="rId5"/>
    <p:sldId id="295" r:id="rId6"/>
    <p:sldId id="296" r:id="rId7"/>
    <p:sldId id="297" r:id="rId8"/>
    <p:sldId id="298" r:id="rId9"/>
    <p:sldId id="285" r:id="rId10"/>
    <p:sldId id="368" r:id="rId11"/>
    <p:sldId id="303" r:id="rId12"/>
    <p:sldId id="304" r:id="rId13"/>
    <p:sldId id="349" r:id="rId14"/>
    <p:sldId id="348" r:id="rId15"/>
    <p:sldId id="350" r:id="rId16"/>
    <p:sldId id="351" r:id="rId17"/>
    <p:sldId id="352" r:id="rId18"/>
    <p:sldId id="353" r:id="rId19"/>
    <p:sldId id="369" r:id="rId20"/>
    <p:sldId id="356" r:id="rId21"/>
    <p:sldId id="306" r:id="rId22"/>
    <p:sldId id="307" r:id="rId23"/>
    <p:sldId id="308" r:id="rId24"/>
    <p:sldId id="309" r:id="rId25"/>
    <p:sldId id="310" r:id="rId26"/>
    <p:sldId id="311" r:id="rId27"/>
    <p:sldId id="312" r:id="rId28"/>
    <p:sldId id="357" r:id="rId29"/>
    <p:sldId id="358" r:id="rId30"/>
    <p:sldId id="359" r:id="rId31"/>
    <p:sldId id="360" r:id="rId32"/>
    <p:sldId id="361" r:id="rId33"/>
    <p:sldId id="362" r:id="rId34"/>
    <p:sldId id="363" r:id="rId35"/>
    <p:sldId id="364" r:id="rId36"/>
    <p:sldId id="365" r:id="rId37"/>
    <p:sldId id="366" r:id="rId38"/>
    <p:sldId id="367" r:id="rId39"/>
    <p:sldId id="322" r:id="rId40"/>
    <p:sldId id="324" r:id="rId41"/>
    <p:sldId id="323" r:id="rId42"/>
    <p:sldId id="289" r:id="rId43"/>
  </p:sldIdLst>
  <p:sldSz cx="12192000" cy="6858000"/>
  <p:notesSz cx="6858000" cy="9144000"/>
  <p:custDataLst>
    <p:tags r:id="rId4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38DEB46-59C6-4C3C-8A52-B51DB5F5493D}">
          <p14:sldIdLst>
            <p14:sldId id="281"/>
            <p14:sldId id="345"/>
            <p14:sldId id="346"/>
            <p14:sldId id="347"/>
            <p14:sldId id="295"/>
            <p14:sldId id="296"/>
            <p14:sldId id="297"/>
            <p14:sldId id="298"/>
            <p14:sldId id="285"/>
            <p14:sldId id="368"/>
            <p14:sldId id="303"/>
            <p14:sldId id="304"/>
            <p14:sldId id="349"/>
            <p14:sldId id="348"/>
            <p14:sldId id="350"/>
            <p14:sldId id="351"/>
            <p14:sldId id="352"/>
            <p14:sldId id="353"/>
            <p14:sldId id="369"/>
            <p14:sldId id="356"/>
            <p14:sldId id="306"/>
            <p14:sldId id="307"/>
            <p14:sldId id="308"/>
            <p14:sldId id="309"/>
            <p14:sldId id="310"/>
            <p14:sldId id="311"/>
            <p14:sldId id="312"/>
            <p14:sldId id="357"/>
            <p14:sldId id="358"/>
            <p14:sldId id="359"/>
            <p14:sldId id="360"/>
            <p14:sldId id="361"/>
            <p14:sldId id="362"/>
            <p14:sldId id="363"/>
            <p14:sldId id="364"/>
            <p14:sldId id="365"/>
            <p14:sldId id="366"/>
            <p14:sldId id="367"/>
            <p14:sldId id="322"/>
            <p14:sldId id="324"/>
            <p14:sldId id="323"/>
            <p14:sldId id="28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holz, Vanessa" initials="KV" lastIdx="1" clrIdx="0">
    <p:extLst>
      <p:ext uri="{19B8F6BF-5375-455C-9EA6-DF929625EA0E}">
        <p15:presenceInfo xmlns:p15="http://schemas.microsoft.com/office/powerpoint/2012/main" userId="S::klaholz@becker-international.com::25bfdfa3-009a-4a38-9b36-b7d4de6cd5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4F77BB-A648-45E9-BE17-5F21FA627076}" v="1" dt="2021-03-03T09:10:44.706"/>
    <p1510:client id="{E1CCC63E-54C7-4B6F-AE19-CAF3D51BDF85}" v="91" dt="2021-03-03T07:57:14.764"/>
  </p1510:revLst>
</p1510:revInfo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102" d="100"/>
          <a:sy n="102" d="100"/>
        </p:scale>
        <p:origin x="36" y="29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52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2261499F-A4FC-415D-9E3F-08267BCC24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108000" tIns="72000" rIns="108000" bIns="7200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8AA19DC-407E-4066-9814-5E6D97B6F61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108000" tIns="72000" rIns="108000" bIns="72000" rtlCol="0"/>
          <a:lstStyle>
            <a:lvl1pPr algn="r">
              <a:defRPr sz="1200"/>
            </a:lvl1pPr>
          </a:lstStyle>
          <a:p>
            <a:fld id="{7086DBED-4F3F-40DF-8D91-6A418D7C9F72}" type="datetimeFigureOut">
              <a:rPr lang="en-US" smtClean="0"/>
              <a:t>3/4/2021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3AE5B8-829F-4474-BD19-596C13607AD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108000" tIns="72000" rIns="108000" bIns="7200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D81DDA9-CB94-4E92-B13C-6C6A67D6172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108000" tIns="72000" rIns="108000" bIns="72000" rtlCol="0" anchor="b"/>
          <a:lstStyle>
            <a:lvl1pPr algn="r">
              <a:defRPr sz="1200"/>
            </a:lvl1pPr>
          </a:lstStyle>
          <a:p>
            <a:fld id="{635B2962-5035-4C63-A1CC-80A2B80BDD0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525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108000" tIns="72000" rIns="108000" bIns="72000" rtlCol="0"/>
          <a:lstStyle>
            <a:lvl1pPr algn="l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108000" tIns="72000" rIns="108000" bIns="72000" rtlCol="0"/>
          <a:lstStyle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880584D8-4C19-479D-BAA9-1FBDE82B6F42}" type="datetimeFigureOut">
              <a:rPr lang="en-GB" smtClean="0"/>
              <a:pPr/>
              <a:t>04/03/2021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8000" tIns="72000" rIns="108000" bIns="7200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108000" tIns="72000" rIns="108000" bIns="72000" rtlCol="0" anchor="b"/>
          <a:lstStyle>
            <a:lvl1pPr algn="l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108000" tIns="72000" rIns="108000" bIns="72000" rtlCol="0" anchor="b"/>
          <a:lstStyle>
            <a:lvl1pPr algn="r"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89CC744D-338F-4EC3-9203-8579DB53DBF5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35790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defRPr sz="1200" kern="1200">
        <a:solidFill>
          <a:schemeClr val="tx1"/>
        </a:solidFill>
        <a:latin typeface="+mn-lt"/>
        <a:ea typeface="Verdana" panose="020B0604030504040204" pitchFamily="34" charset="0"/>
        <a:cs typeface="Verdana" panose="020B0604030504040204" pitchFamily="34" charset="0"/>
      </a:defRPr>
    </a:lvl1pPr>
    <a:lvl2pPr marL="180000" indent="-180000" algn="l" defTabSz="914400" rtl="0" eaLnBrk="1" latinLnBrk="0" hangingPunct="1">
      <a:spcBef>
        <a:spcPts val="300"/>
      </a:spcBef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300"/>
      </a:spcBef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spcBef>
        <a:spcPts val="300"/>
      </a:spcBef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300"/>
      </a:spcBef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54222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79120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62166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81628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33823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86835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51642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56223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232336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717000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34931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652236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068408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4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972094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4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31976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4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28707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4216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3437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67585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91439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89672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CC744D-338F-4EC3-9203-8579DB53DBF5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7442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3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7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53E0B1B-10C4-4A7B-BABD-356DA78BDE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488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53E0B1B-10C4-4A7B-BABD-356DA78BDE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6B8FC9-075C-4CA5-BFB9-C4907E522C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0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DA118E66-E7E3-409B-85AA-D589ED0E65B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62D7FA-E79F-47F8-94A9-63526AEF74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8638" y="1708468"/>
            <a:ext cx="11125200" cy="615553"/>
          </a:xfrm>
        </p:spPr>
        <p:txBody>
          <a:bodyPr wrap="square" anchor="b">
            <a:spAutoFit/>
          </a:bodyPr>
          <a:lstStyle>
            <a:lvl1pPr algn="l">
              <a:defRPr sz="4000" b="1" cap="all" baseline="0"/>
            </a:lvl1pPr>
          </a:lstStyle>
          <a:p>
            <a:r>
              <a:rPr lang="en-GB"/>
              <a:t>THIS IS A HEADLINE 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0E87F26-E35B-49D2-89AD-90F7B709A7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8638" y="2330371"/>
            <a:ext cx="11125200" cy="615553"/>
          </a:xfrm>
        </p:spPr>
        <p:txBody>
          <a:bodyPr wrap="square">
            <a:spAutoFit/>
          </a:bodyPr>
          <a:lstStyle>
            <a:lvl1pPr marL="0" indent="0" algn="l">
              <a:buNone/>
              <a:defRPr sz="4000" b="1" cap="all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A TITLE SLIDE, 40p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3033B2C-E78F-4D43-B2EC-1A209D263D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8637" y="3234146"/>
            <a:ext cx="11125199" cy="353943"/>
          </a:xfrm>
        </p:spPr>
        <p:txBody>
          <a:bodyPr wrap="square">
            <a:spAutoFit/>
          </a:bodyPr>
          <a:lstStyle>
            <a:lvl1pPr marL="0" indent="0">
              <a:buNone/>
              <a:defRPr sz="23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This is a </a:t>
            </a:r>
            <a:r>
              <a:rPr lang="en-GB" err="1"/>
              <a:t>subheader</a:t>
            </a:r>
            <a:r>
              <a:rPr lang="en-GB"/>
              <a:t>, 23pt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EADE9AD8-0903-4E86-AB3B-7345964C5ACF}"/>
              </a:ext>
            </a:extLst>
          </p:cNvPr>
          <p:cNvCxnSpPr>
            <a:cxnSpLocks/>
          </p:cNvCxnSpPr>
          <p:nvPr userDrawn="1"/>
        </p:nvCxnSpPr>
        <p:spPr>
          <a:xfrm>
            <a:off x="528638" y="3064022"/>
            <a:ext cx="6955238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tx2"/>
                </a:gs>
                <a:gs pos="80000">
                  <a:schemeClr val="tx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D82CAD6A-F598-459C-867B-DD768A837E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0549" y="5988050"/>
            <a:ext cx="1833289" cy="438150"/>
          </a:xfrm>
          <a:prstGeom prst="rect">
            <a:avLst/>
          </a:prstGeom>
        </p:spPr>
      </p:pic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160F6614-910A-46E5-99F8-84B84AD2005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25542" y="5988050"/>
            <a:ext cx="1605978" cy="438150"/>
          </a:xfrm>
        </p:spPr>
        <p:txBody>
          <a:bodyPr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/>
              <a:t>PARTNER LOGO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B60C56-ED76-459D-A292-FA106B1AED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53619" y="5988050"/>
            <a:ext cx="10800" cy="438150"/>
          </a:xfrm>
          <a:solidFill>
            <a:schemeClr val="bg2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8345640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0D4B6A2-3040-4D02-8A1D-6F408E60BB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376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0D4B6A2-3040-4D02-8A1D-6F408E60BB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76DDB46-68EF-4A07-86BD-4562769B21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869A35B-DD18-436A-805C-81BFD9CDC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638" y="288211"/>
            <a:ext cx="11125200" cy="430887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GB"/>
              <a:t>Headline, 28pt, one-lined headli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3F156FAA-C7A2-46EA-B59D-E181AC9EFF7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28638" y="1130142"/>
            <a:ext cx="5495925" cy="5197633"/>
          </a:xfrm>
        </p:spPr>
        <p:txBody>
          <a:bodyPr anchor="ctr">
            <a:noAutofit/>
          </a:bodyPr>
          <a:lstStyle>
            <a:lvl1pPr algn="ctr"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CLICK TO ADD CHAR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1A8046B-8B43-49CB-A506-3194088305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7438" y="1130142"/>
            <a:ext cx="5486400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1" cap="all" baseline="0"/>
            </a:lvl1pPr>
          </a:lstStyle>
          <a:p>
            <a:pPr lvl="0"/>
            <a:r>
              <a:rPr lang="en-GB"/>
              <a:t>SUBHEADLINE, 16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D992ECF0-4500-482E-88E8-3A71478B5FF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67438" y="1944209"/>
            <a:ext cx="5486399" cy="4383566"/>
          </a:xfrm>
        </p:spPr>
        <p:txBody>
          <a:bodyPr>
            <a:noAutofit/>
          </a:bodyPr>
          <a:lstStyle>
            <a:lvl1pPr>
              <a:defRPr sz="1200"/>
            </a:lvl1pPr>
            <a:lvl2pPr marL="180000" indent="-180000">
              <a:buFont typeface="Verdana" panose="020B0604030504040204" pitchFamily="34" charset="0"/>
              <a:buChar char="•"/>
              <a:defRPr sz="1200"/>
            </a:lvl2pPr>
            <a:lvl3pPr marL="360000" indent="-180000">
              <a:buFont typeface="Verdana" panose="020B0604030504040204" pitchFamily="34" charset="0"/>
              <a:buChar char="•"/>
              <a:defRPr sz="1200"/>
            </a:lvl3pPr>
            <a:lvl4pPr marL="540000" indent="-180000">
              <a:buFont typeface="Verdana" panose="020B0604030504040204" pitchFamily="34" charset="0"/>
              <a:buChar char="•"/>
              <a:defRPr sz="1200"/>
            </a:lvl4pPr>
            <a:lvl5pPr marL="720000" indent="-180000">
              <a:buFont typeface="Verdana" panose="020B0604030504040204" pitchFamily="34" charset="0"/>
              <a:buChar char="•"/>
              <a:defRPr sz="1200"/>
            </a:lvl5pPr>
          </a:lstStyle>
          <a:p>
            <a:pPr lvl="0"/>
            <a:r>
              <a:rPr lang="en-GB"/>
              <a:t>Verdana, 12pt</a:t>
            </a:r>
          </a:p>
          <a:p>
            <a:pPr lvl="1"/>
            <a:r>
              <a:rPr lang="en-GB"/>
              <a:t>Verdana, 12pt</a:t>
            </a:r>
          </a:p>
          <a:p>
            <a:pPr lvl="2"/>
            <a:r>
              <a:rPr lang="en-GB"/>
              <a:t>Verdana, 12pt</a:t>
            </a:r>
          </a:p>
          <a:p>
            <a:pPr lvl="3"/>
            <a:r>
              <a:rPr lang="en-GB"/>
              <a:t>Verdana, 12pt</a:t>
            </a:r>
          </a:p>
          <a:p>
            <a:pPr lvl="4"/>
            <a:r>
              <a:rPr lang="en-GB"/>
              <a:t>Verdana, 12p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E8E54ED-9636-49C2-A0D7-D22384706D2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1BFF39-D195-4D9C-8345-BBA1CB08C87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919162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2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0D4B6A2-3040-4D02-8A1D-6F408E60BB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7213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0D4B6A2-3040-4D02-8A1D-6F408E60BB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76DDB46-68EF-4A07-86BD-4562769B21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869A35B-DD18-436A-805C-81BFD9CDC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638" y="288211"/>
            <a:ext cx="11125200" cy="430887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49C5341-7263-4DE0-8FB0-11C92C3AC55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8638" y="696358"/>
            <a:ext cx="11125200" cy="430887"/>
          </a:xfrm>
        </p:spPr>
        <p:txBody>
          <a:bodyPr wrap="square">
            <a:spAutoFit/>
          </a:bodyPr>
          <a:lstStyle>
            <a:lvl1pPr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wo-lined headline, 28pt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E3DA5FA-3354-480C-94BB-7F87D0755A6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162" y="1376363"/>
            <a:ext cx="5467838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1" cap="all" baseline="0"/>
            </a:lvl1pPr>
          </a:lstStyle>
          <a:p>
            <a:pPr lvl="0"/>
            <a:r>
              <a:rPr lang="en-GB"/>
              <a:t>SUBHEADLINE, 16pt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C668D75-9ED1-4475-8BA6-FCFB4D9299F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8161" y="2318321"/>
            <a:ext cx="5467838" cy="246221"/>
          </a:xfrm>
        </p:spPr>
        <p:txBody>
          <a:bodyPr>
            <a:noAutofit/>
          </a:bodyPr>
          <a:lstStyle>
            <a:lvl1pPr>
              <a:defRPr sz="1600" b="1">
                <a:solidFill>
                  <a:schemeClr val="accent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ategories of evaluation, 16pt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89D48CFE-5368-467F-9270-3152084FD6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8161" y="2600325"/>
            <a:ext cx="5467838" cy="3727450"/>
          </a:xfrm>
        </p:spPr>
        <p:txBody>
          <a:bodyPr>
            <a:noAutofit/>
          </a:bodyPr>
          <a:lstStyle>
            <a:lvl1pPr marL="171450" indent="-171450">
              <a:buClr>
                <a:schemeClr val="tx2"/>
              </a:buClr>
              <a:buFont typeface="Verdana" panose="020B0604030504040204" pitchFamily="34" charset="0"/>
              <a:buChar char="•"/>
              <a:defRPr sz="1200"/>
            </a:lvl1pPr>
            <a:lvl2pPr marL="360000" indent="-180000">
              <a:buClr>
                <a:schemeClr val="tx2"/>
              </a:buClr>
              <a:buFont typeface="Verdana" panose="020B0604030504040204" pitchFamily="34" charset="0"/>
              <a:buChar char="•"/>
              <a:defRPr sz="1200"/>
            </a:lvl2pPr>
            <a:lvl3pPr marL="540000" indent="-180000">
              <a:buClr>
                <a:schemeClr val="tx2"/>
              </a:buClr>
              <a:buFont typeface="Verdana" panose="020B0604030504040204" pitchFamily="34" charset="0"/>
              <a:buChar char="•"/>
              <a:defRPr sz="1200"/>
            </a:lvl3pPr>
            <a:lvl4pPr marL="720000" indent="-180000">
              <a:buClr>
                <a:schemeClr val="tx2"/>
              </a:buClr>
              <a:buFont typeface="Verdana" panose="020B0604030504040204" pitchFamily="34" charset="0"/>
              <a:buChar char="•"/>
              <a:defRPr sz="1200"/>
            </a:lvl4pPr>
            <a:lvl5pPr marL="900000" indent="-180000">
              <a:buClr>
                <a:schemeClr val="tx2"/>
              </a:buClr>
              <a:buFont typeface="Verdana" panose="020B0604030504040204" pitchFamily="34" charset="0"/>
              <a:buChar char="•"/>
              <a:defRPr sz="1200"/>
            </a:lvl5pPr>
          </a:lstStyle>
          <a:p>
            <a:pPr lvl="0"/>
            <a:r>
              <a:rPr lang="en-GB"/>
              <a:t>Verdana, 12pt</a:t>
            </a:r>
          </a:p>
          <a:p>
            <a:pPr lvl="1"/>
            <a:r>
              <a:rPr lang="en-GB"/>
              <a:t>Verdana, 12pt</a:t>
            </a:r>
          </a:p>
          <a:p>
            <a:pPr lvl="2"/>
            <a:r>
              <a:rPr lang="en-GB"/>
              <a:t>Verdana, 12pt</a:t>
            </a:r>
          </a:p>
          <a:p>
            <a:pPr lvl="3"/>
            <a:r>
              <a:rPr lang="en-GB"/>
              <a:t>Verdana, 12pt</a:t>
            </a:r>
          </a:p>
          <a:p>
            <a:pPr lvl="4"/>
            <a:r>
              <a:rPr lang="en-GB"/>
              <a:t>Verdana, 12pt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DB4EBDC6-3C24-4D0D-BEFB-50AF776A58A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86000" y="1376364"/>
            <a:ext cx="5467838" cy="246221"/>
          </a:xfrm>
        </p:spPr>
        <p:txBody>
          <a:bodyPr wrap="square">
            <a:spAutoFit/>
          </a:bodyPr>
          <a:lstStyle>
            <a:lvl1pPr>
              <a:defRPr sz="1600" b="1" cap="all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SUBHEADLINE, 16pt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A472B4B7-DE81-48F8-B601-666B7C9B56B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86000" y="2600325"/>
            <a:ext cx="5467838" cy="3727450"/>
          </a:xfrm>
        </p:spPr>
        <p:txBody>
          <a:bodyPr>
            <a:noAutofit/>
          </a:bodyPr>
          <a:lstStyle>
            <a:lvl1pPr marL="216000" indent="-216000">
              <a:buClr>
                <a:schemeClr val="tx2"/>
              </a:buClr>
              <a:buFont typeface="+mj-lt"/>
              <a:buAutoNum type="arabicPeriod"/>
              <a:defRPr sz="1200"/>
            </a:lvl1pPr>
            <a:lvl2pPr marL="432000" indent="-216000">
              <a:buClr>
                <a:schemeClr val="tx2"/>
              </a:buClr>
              <a:buFont typeface="+mj-lt"/>
              <a:buAutoNum type="arabicPeriod"/>
              <a:defRPr sz="1200"/>
            </a:lvl2pPr>
            <a:lvl3pPr marL="648000" indent="-216000">
              <a:buClr>
                <a:schemeClr val="tx2"/>
              </a:buClr>
              <a:buFont typeface="+mj-lt"/>
              <a:buAutoNum type="arabicPeriod"/>
              <a:defRPr sz="1200"/>
            </a:lvl3pPr>
            <a:lvl4pPr marL="864000" indent="-216000">
              <a:buClr>
                <a:schemeClr val="tx2"/>
              </a:buClr>
              <a:buFont typeface="+mj-lt"/>
              <a:buAutoNum type="arabicPeriod"/>
              <a:defRPr sz="1200"/>
            </a:lvl4pPr>
            <a:lvl5pPr marL="1080000" indent="-216000">
              <a:buClr>
                <a:schemeClr val="tx2"/>
              </a:buClr>
              <a:buFont typeface="+mj-lt"/>
              <a:buAutoNum type="arabicPeriod"/>
              <a:defRPr sz="1200"/>
            </a:lvl5pPr>
          </a:lstStyle>
          <a:p>
            <a:pPr lvl="0"/>
            <a:r>
              <a:rPr lang="en-GB"/>
              <a:t>Verdana, 12pt</a:t>
            </a:r>
          </a:p>
          <a:p>
            <a:pPr lvl="1"/>
            <a:r>
              <a:rPr lang="en-GB"/>
              <a:t>Verdana, 12pt</a:t>
            </a:r>
          </a:p>
          <a:p>
            <a:pPr lvl="2"/>
            <a:r>
              <a:rPr lang="en-GB"/>
              <a:t>Verdana, 12pt</a:t>
            </a:r>
          </a:p>
          <a:p>
            <a:pPr lvl="3"/>
            <a:r>
              <a:rPr lang="en-GB"/>
              <a:t>Verdana, 12pt</a:t>
            </a:r>
          </a:p>
          <a:p>
            <a:pPr lvl="4"/>
            <a:r>
              <a:rPr lang="en-GB"/>
              <a:t>Verdana, 12p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3D25C07-B288-4978-A053-68CD70BAAE4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FDC261-7359-44C0-87AA-B0B1C7FF8BA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977748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97" userDrawn="1">
          <p15:clr>
            <a:srgbClr val="FBAE40"/>
          </p15:clr>
        </p15:guide>
        <p15:guide id="2" pos="378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0D4B6A2-3040-4D02-8A1D-6F408E60BB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5242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0D4B6A2-3040-4D02-8A1D-6F408E60BB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76DDB46-68EF-4A07-86BD-4562769B21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869A35B-DD18-436A-805C-81BFD9CDC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638" y="288211"/>
            <a:ext cx="11125200" cy="430887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840FFE6-642C-4034-80CA-174D531532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8638" y="696358"/>
            <a:ext cx="11125200" cy="430213"/>
          </a:xfrm>
        </p:spPr>
        <p:txBody>
          <a:bodyPr wrap="square">
            <a:spAutoFit/>
          </a:bodyPr>
          <a:lstStyle>
            <a:lvl1pPr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wo-lined headline, 28pt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02A6E99-D2BB-4E21-A8A0-94E9A5B3B9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8162" y="1376363"/>
            <a:ext cx="5467837" cy="246221"/>
          </a:xfrm>
        </p:spPr>
        <p:txBody>
          <a:bodyPr vert="horz" wrap="square" lIns="0" tIns="0" rIns="0" bIns="0" rtlCol="0">
            <a:spAutoFit/>
          </a:bodyPr>
          <a:lstStyle>
            <a:lvl1pPr>
              <a:spcBef>
                <a:spcPts val="0"/>
              </a:spcBef>
              <a:defRPr lang="de-DE" sz="1600" b="1" cap="all" baseline="0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pPr lvl="0"/>
            <a:r>
              <a:rPr lang="en-GB"/>
              <a:t>SUBHEADLINE, 16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89C7BAA-FCAE-48D2-9A01-ACC3964EE9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163" y="2318321"/>
            <a:ext cx="5467838" cy="246221"/>
          </a:xfrm>
        </p:spPr>
        <p:txBody>
          <a:bodyPr>
            <a:no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  <a:lvl2pPr>
              <a:defRPr sz="1600" b="1">
                <a:solidFill>
                  <a:schemeClr val="tx2"/>
                </a:solidFill>
              </a:defRPr>
            </a:lvl2pPr>
            <a:lvl3pPr>
              <a:defRPr sz="1600" b="1">
                <a:solidFill>
                  <a:schemeClr val="tx2"/>
                </a:solidFill>
              </a:defRPr>
            </a:lvl3pPr>
            <a:lvl4pPr>
              <a:defRPr sz="1600" b="1">
                <a:solidFill>
                  <a:schemeClr val="tx2"/>
                </a:solidFill>
              </a:defRPr>
            </a:lvl4pPr>
            <a:lvl5pPr>
              <a:defRPr sz="16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ategories of evaluation, 16p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B2D6397-8199-4AF9-9BEF-234FEA23A9D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8163" y="2600325"/>
            <a:ext cx="5467838" cy="3727450"/>
          </a:xfrm>
        </p:spPr>
        <p:txBody>
          <a:bodyPr>
            <a:noAutofit/>
          </a:bodyPr>
          <a:lstStyle>
            <a:lvl1pPr marL="171450" indent="-171450">
              <a:buClr>
                <a:schemeClr val="tx2"/>
              </a:buClr>
              <a:buFont typeface="Verdana" panose="020B0604030504040204" pitchFamily="34" charset="0"/>
              <a:buChar char="•"/>
              <a:defRPr sz="1200"/>
            </a:lvl1pPr>
            <a:lvl2pPr marL="360000">
              <a:defRPr sz="1200"/>
            </a:lvl2pPr>
            <a:lvl3pPr marL="540000">
              <a:defRPr sz="1200"/>
            </a:lvl3pPr>
            <a:lvl4pPr marL="720000">
              <a:defRPr sz="1200"/>
            </a:lvl4pPr>
            <a:lvl5pPr marL="900000">
              <a:defRPr sz="1200"/>
            </a:lvl5pPr>
          </a:lstStyle>
          <a:p>
            <a:pPr lvl="0"/>
            <a:r>
              <a:rPr lang="en-GB"/>
              <a:t>Verdana, 12pt</a:t>
            </a:r>
          </a:p>
          <a:p>
            <a:pPr lvl="1"/>
            <a:r>
              <a:rPr lang="en-GB"/>
              <a:t>Verdana, 12pt</a:t>
            </a:r>
          </a:p>
          <a:p>
            <a:pPr lvl="2"/>
            <a:r>
              <a:rPr lang="en-GB"/>
              <a:t>Verdana, 12pt</a:t>
            </a:r>
          </a:p>
          <a:p>
            <a:pPr lvl="3"/>
            <a:r>
              <a:rPr lang="en-GB"/>
              <a:t>Verdana, 12pt</a:t>
            </a:r>
          </a:p>
          <a:p>
            <a:pPr lvl="4"/>
            <a:r>
              <a:rPr lang="en-GB"/>
              <a:t>Verdana, 12pt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A7CFB1D8-0B75-4459-8938-736FF9F8883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86000" y="1376363"/>
            <a:ext cx="5467837" cy="4951412"/>
          </a:xfrm>
        </p:spPr>
        <p:txBody>
          <a:bodyPr anchor="ctr"/>
          <a:lstStyle>
            <a:lvl1pPr algn="ctr"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TO ADD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33E66A-4AC9-4D27-A6D2-6C02B85AE17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D82C6B-9534-4868-A1AA-B7DC1C48518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56349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96" userDrawn="1">
          <p15:clr>
            <a:srgbClr val="FBAE40"/>
          </p15:clr>
        </p15:guide>
        <p15:guide id="2" pos="37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1FC1EBF-7CCB-402B-8456-9E9896BF97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705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1FC1EBF-7CCB-402B-8456-9E9896BF97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C613CE-6296-4AE7-8E7D-DAF890D443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4E3A3-F6FE-4882-AC67-B638EB8B22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1868330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942871F1-1670-4B70-A875-E2A40FFFF67D}"/>
              </a:ext>
            </a:extLst>
          </p:cNvPr>
          <p:cNvSpPr/>
          <p:nvPr userDrawn="1"/>
        </p:nvSpPr>
        <p:spPr>
          <a:xfrm>
            <a:off x="0" y="6327775"/>
            <a:ext cx="12192000" cy="530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0A3E00A-864C-44AA-A331-68F3A1D2F9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7" b="9582"/>
          <a:stretch/>
        </p:blipFill>
        <p:spPr>
          <a:xfrm>
            <a:off x="0" y="0"/>
            <a:ext cx="12192000" cy="632777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53E0B1B-10C4-4A7B-BABD-356DA78BDE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237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53E0B1B-10C4-4A7B-BABD-356DA78BDE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6B8FC9-075C-4CA5-BFB9-C4907E522C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0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C62D7FA-E79F-47F8-94A9-63526AEF74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8638" y="2520871"/>
            <a:ext cx="5376861" cy="615553"/>
          </a:xfrm>
        </p:spPr>
        <p:txBody>
          <a:bodyPr wrap="square" anchor="b">
            <a:spAutoFit/>
          </a:bodyPr>
          <a:lstStyle>
            <a:lvl1pPr algn="l">
              <a:defRPr sz="4000" b="1" cap="all" baseline="0"/>
            </a:lvl1pPr>
          </a:lstStyle>
          <a:p>
            <a:r>
              <a:rPr lang="en-GB"/>
              <a:t>THANK YOU!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3033B2C-E78F-4D43-B2EC-1A209D263D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8638" y="3456396"/>
            <a:ext cx="5376861" cy="854080"/>
          </a:xfrm>
        </p:spPr>
        <p:txBody>
          <a:bodyPr wrap="square">
            <a:spAutoFit/>
          </a:bodyPr>
          <a:lstStyle>
            <a:lvl1pPr marL="0" indent="0">
              <a:buNone/>
              <a:defRPr sz="1200" b="0" spc="-4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err="1"/>
              <a:t>Samy</a:t>
            </a:r>
            <a:r>
              <a:rPr lang="en-GB"/>
              <a:t> Sample</a:t>
            </a:r>
          </a:p>
          <a:p>
            <a:pPr lvl="0"/>
            <a:r>
              <a:rPr lang="en-GB"/>
              <a:t>Key Account Manager</a:t>
            </a:r>
          </a:p>
          <a:p>
            <a:pPr lvl="0"/>
            <a:r>
              <a:rPr lang="en-GB"/>
              <a:t>T +49 202 697-0</a:t>
            </a:r>
          </a:p>
          <a:p>
            <a:pPr lvl="0"/>
            <a:r>
              <a:rPr lang="en-GB"/>
              <a:t>sample@becker-international.com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227EA96-E0C1-4DEA-B23D-C0637E156D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552995" y="6484144"/>
            <a:ext cx="802041" cy="220056"/>
          </a:xfrm>
        </p:spPr>
        <p:txBody>
          <a:bodyPr anchor="ctr">
            <a:noAutofit/>
          </a:bodyPr>
          <a:lstStyle>
            <a:lvl1pPr algn="ctr">
              <a:defRPr sz="700">
                <a:solidFill>
                  <a:schemeClr val="accent3"/>
                </a:solidFill>
              </a:defRPr>
            </a:lvl1pPr>
          </a:lstStyle>
          <a:p>
            <a:r>
              <a:rPr lang="en-GB"/>
              <a:t>PARTNER LOGO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4D7F9056-37EF-41A0-A8FC-8FDB76EAC5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54090" y="6486531"/>
            <a:ext cx="3600" cy="220056"/>
          </a:xfrm>
          <a:solidFill>
            <a:schemeClr val="accent3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 </a:t>
            </a:r>
          </a:p>
        </p:txBody>
      </p:sp>
      <p:pic>
        <p:nvPicPr>
          <p:cNvPr id="19" name="Grafik 11">
            <a:extLst>
              <a:ext uri="{FF2B5EF4-FFF2-40B4-BE49-F238E27FC236}">
                <a16:creationId xmlns:a16="http://schemas.microsoft.com/office/drawing/2014/main" id="{843F7C1E-EC93-4A2B-B685-183DE5B08CF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088" y="6485573"/>
            <a:ext cx="920750" cy="22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14635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Ein Bild, das draußen, Himmel enthält.&#10;&#10;Automatisch generierte Beschreibung">
            <a:extLst>
              <a:ext uri="{FF2B5EF4-FFF2-40B4-BE49-F238E27FC236}">
                <a16:creationId xmlns:a16="http://schemas.microsoft.com/office/drawing/2014/main" id="{1771BCB6-71B6-435A-90F9-F5E72F4D95C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F6706F7A-AD78-4049-ABB4-A68322458517}"/>
              </a:ext>
            </a:extLst>
          </p:cNvPr>
          <p:cNvSpPr/>
          <p:nvPr userDrawn="1"/>
        </p:nvSpPr>
        <p:spPr>
          <a:xfrm>
            <a:off x="0" y="6327775"/>
            <a:ext cx="12192000" cy="530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53E0B1B-10C4-4A7B-BABD-356DA78BDE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296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53E0B1B-10C4-4A7B-BABD-356DA78BDE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6B8FC9-075C-4CA5-BFB9-C4907E522C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0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3033B2C-E78F-4D43-B2EC-1A209D263D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589" y="3456396"/>
            <a:ext cx="5374911" cy="854080"/>
          </a:xfrm>
        </p:spPr>
        <p:txBody>
          <a:bodyPr wrap="square">
            <a:spAutoFit/>
          </a:bodyPr>
          <a:lstStyle>
            <a:lvl1pPr marL="0" indent="0">
              <a:buNone/>
              <a:defRPr sz="1200" b="0" spc="-5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First name Second Name</a:t>
            </a:r>
          </a:p>
          <a:p>
            <a:pPr lvl="0"/>
            <a:r>
              <a:rPr lang="en-GB"/>
              <a:t>Position</a:t>
            </a:r>
          </a:p>
          <a:p>
            <a:pPr lvl="0"/>
            <a:r>
              <a:rPr lang="en-GB"/>
              <a:t>T</a:t>
            </a:r>
          </a:p>
          <a:p>
            <a:pPr lvl="0"/>
            <a:r>
              <a:rPr lang="en-GB"/>
              <a:t>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2A78FF1-0C64-454D-B751-78FA379E0602}"/>
              </a:ext>
            </a:extLst>
          </p:cNvPr>
          <p:cNvSpPr txBox="1">
            <a:spLocks/>
          </p:cNvSpPr>
          <p:nvPr userDrawn="1"/>
        </p:nvSpPr>
        <p:spPr>
          <a:xfrm>
            <a:off x="528639" y="2553237"/>
            <a:ext cx="5413374" cy="58477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GB" sz="3800" b="1" cap="all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KE IT </a:t>
            </a:r>
            <a:r>
              <a:rPr lang="en-GB" sz="3800" b="1" cap="all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CKER.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DF61C5C-EA86-4471-827D-EF3CB2001C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72250" y="0"/>
            <a:ext cx="6019863" cy="6327775"/>
          </a:xfrm>
        </p:spPr>
        <p:txBody>
          <a:bodyPr anchor="ctr"/>
          <a:lstStyle>
            <a:lvl1pPr algn="ctr"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TO ADD IMAG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E2AE0C3-5143-4E73-AFBE-EB5B6D17C67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552995" y="6484144"/>
            <a:ext cx="802041" cy="220056"/>
          </a:xfrm>
        </p:spPr>
        <p:txBody>
          <a:bodyPr anchor="ctr">
            <a:noAutofit/>
          </a:bodyPr>
          <a:lstStyle>
            <a:lvl1pPr algn="ctr">
              <a:defRPr sz="700">
                <a:solidFill>
                  <a:schemeClr val="accent3"/>
                </a:solidFill>
              </a:defRPr>
            </a:lvl1pPr>
          </a:lstStyle>
          <a:p>
            <a:r>
              <a:rPr lang="en-GB"/>
              <a:t>PARTNER LOGO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11FDC394-657C-497C-8652-D5D39DE0D4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54090" y="6486531"/>
            <a:ext cx="3600" cy="220056"/>
          </a:xfrm>
          <a:solidFill>
            <a:schemeClr val="accent3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 </a:t>
            </a:r>
          </a:p>
        </p:txBody>
      </p:sp>
      <p:pic>
        <p:nvPicPr>
          <p:cNvPr id="21" name="Grafik 11">
            <a:extLst>
              <a:ext uri="{FF2B5EF4-FFF2-40B4-BE49-F238E27FC236}">
                <a16:creationId xmlns:a16="http://schemas.microsoft.com/office/drawing/2014/main" id="{199F00B4-AF66-4023-A668-D82A9F185C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088" y="6485573"/>
            <a:ext cx="920750" cy="22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016146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53E0B1B-10C4-4A7B-BABD-356DA78BDE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36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53E0B1B-10C4-4A7B-BABD-356DA78BDE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6B8FC9-075C-4CA5-BFB9-C4907E522C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0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0E2C0EF-6921-40B4-A06F-0E600DC4FC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36" b="9582"/>
          <a:stretch/>
        </p:blipFill>
        <p:spPr>
          <a:xfrm>
            <a:off x="0" y="-1"/>
            <a:ext cx="12188400" cy="632777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62D7FA-E79F-47F8-94A9-63526AEF74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8638" y="1308815"/>
            <a:ext cx="5643499" cy="1231106"/>
          </a:xfrm>
        </p:spPr>
        <p:txBody>
          <a:bodyPr wrap="square" anchor="b">
            <a:spAutoFit/>
          </a:bodyPr>
          <a:lstStyle>
            <a:lvl1pPr algn="l">
              <a:defRPr sz="4000" b="1" cap="all" baseline="0"/>
            </a:lvl1pPr>
          </a:lstStyle>
          <a:p>
            <a:r>
              <a:rPr lang="en-GB" noProof="0"/>
              <a:t>THIS IS A HEADLINE 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0E87F26-E35B-49D2-89AD-90F7B709A7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8639" y="2531983"/>
            <a:ext cx="5643500" cy="615553"/>
          </a:xfrm>
        </p:spPr>
        <p:txBody>
          <a:bodyPr wrap="square">
            <a:spAutoFit/>
          </a:bodyPr>
          <a:lstStyle>
            <a:lvl1pPr marL="0" indent="0" algn="l">
              <a:buNone/>
              <a:defRPr sz="4000" b="1" cap="all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TITLE Slide, 40P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3033B2C-E78F-4D43-B2EC-1A209D263D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8639" y="3441883"/>
            <a:ext cx="5643500" cy="353943"/>
          </a:xfrm>
        </p:spPr>
        <p:txBody>
          <a:bodyPr wrap="square">
            <a:noAutofit/>
          </a:bodyPr>
          <a:lstStyle>
            <a:lvl1pPr marL="0" indent="0">
              <a:buNone/>
              <a:defRPr sz="23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This is a </a:t>
            </a:r>
            <a:r>
              <a:rPr lang="en-GB" noProof="0" err="1"/>
              <a:t>subheader</a:t>
            </a:r>
            <a:r>
              <a:rPr lang="en-GB" noProof="0"/>
              <a:t>, 23pt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2BAF0603-20B9-4CE5-AB5A-8BD8C8B197A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72250" y="1"/>
            <a:ext cx="6019863" cy="6327772"/>
          </a:xfrm>
        </p:spPr>
        <p:txBody>
          <a:bodyPr anchor="ctr"/>
          <a:lstStyle>
            <a:lvl1pPr algn="ctr"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TO ADD IMAGE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841B8F15-F5B7-4ADE-BCDE-21FA414FB5EA}"/>
              </a:ext>
            </a:extLst>
          </p:cNvPr>
          <p:cNvCxnSpPr>
            <a:cxnSpLocks/>
          </p:cNvCxnSpPr>
          <p:nvPr userDrawn="1"/>
        </p:nvCxnSpPr>
        <p:spPr>
          <a:xfrm>
            <a:off x="537561" y="3262142"/>
            <a:ext cx="5394924" cy="0"/>
          </a:xfrm>
          <a:prstGeom prst="line">
            <a:avLst/>
          </a:prstGeom>
          <a:ln w="25400">
            <a:gradFill flip="none" rotWithShape="1">
              <a:gsLst>
                <a:gs pos="0">
                  <a:schemeClr val="tx2"/>
                </a:gs>
                <a:gs pos="80000">
                  <a:schemeClr val="tx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A2698B7C-22A6-4C98-85C2-CF9EDCCD6DB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552995" y="6484144"/>
            <a:ext cx="802041" cy="220056"/>
          </a:xfrm>
        </p:spPr>
        <p:txBody>
          <a:bodyPr anchor="ctr">
            <a:noAutofit/>
          </a:bodyPr>
          <a:lstStyle>
            <a:lvl1pPr algn="ctr">
              <a:defRPr sz="700">
                <a:solidFill>
                  <a:schemeClr val="accent3"/>
                </a:solidFill>
              </a:defRPr>
            </a:lvl1pPr>
          </a:lstStyle>
          <a:p>
            <a:r>
              <a:rPr lang="en-GB"/>
              <a:t>PARTNER LOGO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1A77518B-4DF3-4807-A781-26E8258DF3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554090" y="6486531"/>
            <a:ext cx="3600" cy="220056"/>
          </a:xfrm>
          <a:solidFill>
            <a:schemeClr val="accent3"/>
          </a:solid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5831070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reaker slid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Objekt enthält.&#10;&#10;Automatisch generierte Beschreibung">
            <a:extLst>
              <a:ext uri="{FF2B5EF4-FFF2-40B4-BE49-F238E27FC236}">
                <a16:creationId xmlns:a16="http://schemas.microsoft.com/office/drawing/2014/main" id="{574A41C6-CD18-443F-9E04-301BA18948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DDA71E6-1DB3-45C3-B795-4C40AC8B8D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5893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DDA71E6-1DB3-45C3-B795-4C40AC8B8D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6B51D92E-4C65-4E77-86C0-C798B658DEA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0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72FD5B-534D-45F1-8A92-4F93643FDD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638" y="2537461"/>
            <a:ext cx="11125200" cy="1231106"/>
          </a:xfrm>
        </p:spPr>
        <p:txBody>
          <a:bodyPr wrap="square" lIns="0" tIns="0" rIns="0" bIns="0" anchor="b">
            <a:spAutoFit/>
          </a:bodyPr>
          <a:lstStyle>
            <a:lvl1pPr algn="r">
              <a:defRPr sz="4000" cap="all" baseline="0">
                <a:solidFill>
                  <a:schemeClr val="accent2"/>
                </a:solidFill>
              </a:defRPr>
            </a:lvl1pPr>
          </a:lstStyle>
          <a:p>
            <a:r>
              <a:rPr lang="en-GB"/>
              <a:t>2.1</a:t>
            </a:r>
            <a:br>
              <a:rPr lang="en-GB"/>
            </a:br>
            <a:r>
              <a:rPr lang="en-GB"/>
              <a:t>THIS IS A HEADLINE 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8BF9948-024D-4255-A462-59394B279C4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774917"/>
            <a:ext cx="11125200" cy="615553"/>
          </a:xfrm>
        </p:spPr>
        <p:txBody>
          <a:bodyPr wrap="square">
            <a:spAutoFit/>
          </a:bodyPr>
          <a:lstStyle>
            <a:lvl1pPr marL="0" indent="0" algn="r">
              <a:buNone/>
              <a:defRPr sz="40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A BREAKER SLIDE, 40pt</a:t>
            </a:r>
          </a:p>
        </p:txBody>
      </p:sp>
    </p:spTree>
    <p:extLst>
      <p:ext uri="{BB962C8B-B14F-4D97-AF65-F5344CB8AC3E}">
        <p14:creationId xmlns:p14="http://schemas.microsoft.com/office/powerpoint/2010/main" val="1983570041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reaker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DDA71E6-1DB3-45C3-B795-4C40AC8B8D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425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DDA71E6-1DB3-45C3-B795-4C40AC8B8D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6B51D92E-4C65-4E77-86C0-C798B658DEA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0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53AEBC4-EDE8-4179-B07D-B91CF110DCF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A72FD5B-534D-45F1-8A92-4F93643FDD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638" y="2537461"/>
            <a:ext cx="11125200" cy="1231106"/>
          </a:xfrm>
        </p:spPr>
        <p:txBody>
          <a:bodyPr wrap="square" lIns="0" tIns="0" rIns="0" bIns="0" anchor="b">
            <a:spAutoFit/>
          </a:bodyPr>
          <a:lstStyle>
            <a:lvl1pPr algn="r">
              <a:defRPr sz="4000" cap="all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4.3</a:t>
            </a:r>
            <a:br>
              <a:rPr lang="en-GB"/>
            </a:br>
            <a:r>
              <a:rPr lang="en-GB"/>
              <a:t>THIS IS A HEADLINE 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8BF9948-024D-4255-A462-59394B279C4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774917"/>
            <a:ext cx="11125200" cy="615553"/>
          </a:xfrm>
        </p:spPr>
        <p:txBody>
          <a:bodyPr wrap="square">
            <a:spAutoFit/>
          </a:bodyPr>
          <a:lstStyle>
            <a:lvl1pPr marL="0" indent="0" algn="r">
              <a:buNone/>
              <a:defRPr sz="4000" b="1" cap="all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A BREAKER SLIDE, 40pt</a:t>
            </a:r>
          </a:p>
        </p:txBody>
      </p:sp>
    </p:spTree>
    <p:extLst>
      <p:ext uri="{BB962C8B-B14F-4D97-AF65-F5344CB8AC3E}">
        <p14:creationId xmlns:p14="http://schemas.microsoft.com/office/powerpoint/2010/main" val="884122283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0D4B6A2-3040-4D02-8A1D-6F408E60BB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4711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0D4B6A2-3040-4D02-8A1D-6F408E60BB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76DDB46-68EF-4A07-86BD-4562769B21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141B5643-D6CF-47E1-8196-A8F0086E67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8638" y="1376363"/>
            <a:ext cx="11125200" cy="4951412"/>
          </a:xfrm>
        </p:spPr>
        <p:txBody>
          <a:bodyPr/>
          <a:lstStyle>
            <a:lvl1pPr marL="360000" indent="-360000">
              <a:spcBef>
                <a:spcPts val="300"/>
              </a:spcBef>
              <a:buClr>
                <a:schemeClr val="accent2"/>
              </a:buClr>
              <a:buFont typeface="+mj-lt"/>
              <a:buAutoNum type="arabicPeriod"/>
              <a:defRPr sz="2300"/>
            </a:lvl1pPr>
            <a:lvl2pPr marL="720000" indent="-360000">
              <a:spcBef>
                <a:spcPts val="300"/>
              </a:spcBef>
              <a:buClr>
                <a:schemeClr val="accent2"/>
              </a:buClr>
              <a:buFont typeface="+mj-lt"/>
              <a:buAutoNum type="arabicPeriod"/>
              <a:defRPr sz="2000"/>
            </a:lvl2pPr>
            <a:lvl3pPr marL="1080000" indent="-360000">
              <a:spcBef>
                <a:spcPts val="300"/>
              </a:spcBef>
              <a:buClr>
                <a:schemeClr val="accent2"/>
              </a:buClr>
              <a:buFont typeface="+mj-lt"/>
              <a:buAutoNum type="arabicPeriod"/>
              <a:defRPr sz="2000"/>
            </a:lvl3pPr>
            <a:lvl4pPr marL="1440000" indent="-360000">
              <a:spcBef>
                <a:spcPts val="300"/>
              </a:spcBef>
              <a:buClr>
                <a:schemeClr val="accent2"/>
              </a:buClr>
              <a:buFont typeface="+mj-lt"/>
              <a:buAutoNum type="arabicPeriod"/>
              <a:defRPr sz="2000"/>
            </a:lvl4pPr>
            <a:lvl5pPr marL="1800000" indent="-360000">
              <a:spcBef>
                <a:spcPts val="300"/>
              </a:spcBef>
              <a:buClr>
                <a:schemeClr val="accent2"/>
              </a:buClr>
              <a:buFont typeface="+mj-lt"/>
              <a:buAutoNum type="arabicPeriod"/>
              <a:defRPr sz="2000"/>
            </a:lvl5pPr>
          </a:lstStyle>
          <a:p>
            <a:pPr lvl="0"/>
            <a:r>
              <a:rPr lang="en-GB"/>
              <a:t>Verdana, 23pt</a:t>
            </a:r>
          </a:p>
          <a:p>
            <a:pPr lvl="1"/>
            <a:r>
              <a:rPr lang="en-GB"/>
              <a:t>Verdana, 20pt</a:t>
            </a:r>
          </a:p>
          <a:p>
            <a:pPr lvl="2"/>
            <a:r>
              <a:rPr lang="en-GB"/>
              <a:t>Verdana, 20pt</a:t>
            </a:r>
          </a:p>
          <a:p>
            <a:pPr lvl="3"/>
            <a:r>
              <a:rPr lang="en-GB"/>
              <a:t>Verdana, 20pt</a:t>
            </a:r>
          </a:p>
          <a:p>
            <a:pPr lvl="4"/>
            <a:r>
              <a:rPr lang="en-GB"/>
              <a:t>Verdana, 20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48B5A5-E817-4F59-B5EF-AA035A8BD1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Headline, 28pt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5C4E31-BA81-4D17-B575-78C6A9F5744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FCBFAC-F17C-4601-B235-F4C3D38B0B6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069802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0D4B6A2-3040-4D02-8A1D-6F408E60BB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9428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0D4B6A2-3040-4D02-8A1D-6F408E60BB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76DDB46-68EF-4A07-86BD-4562769B21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869A35B-DD18-436A-805C-81BFD9CDC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638" y="288211"/>
            <a:ext cx="11125200" cy="430887"/>
          </a:xfrm>
        </p:spPr>
        <p:txBody>
          <a:bodyPr wrap="square" anchor="b">
            <a:spAutoFit/>
          </a:bodyPr>
          <a:lstStyle>
            <a:lvl1pPr>
              <a:defRPr/>
            </a:lvl1pPr>
          </a:lstStyle>
          <a:p>
            <a:r>
              <a:rPr lang="en-GB"/>
              <a:t>Headline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15D2DE8-4FB4-46DC-B646-B0E710C8AC8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8638" y="696358"/>
            <a:ext cx="11125200" cy="430887"/>
          </a:xfrm>
        </p:spPr>
        <p:txBody>
          <a:bodyPr wrap="square">
            <a:spAutoFit/>
          </a:bodyPr>
          <a:lstStyle>
            <a:lvl1pPr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wo-lined headline, 28p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F600D6-5473-40C0-9972-DC2497C80A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8638" y="1376363"/>
            <a:ext cx="11125200" cy="4951412"/>
          </a:xfrm>
        </p:spPr>
        <p:txBody>
          <a:bodyPr/>
          <a:lstStyle>
            <a:lvl1pPr>
              <a:lnSpc>
                <a:spcPct val="130000"/>
              </a:lnSpc>
              <a:defRPr sz="2000"/>
            </a:lvl1pPr>
            <a:lvl2pPr>
              <a:lnSpc>
                <a:spcPct val="130000"/>
              </a:lnSpc>
              <a:buClr>
                <a:schemeClr val="tx2"/>
              </a:buClr>
              <a:defRPr sz="2000"/>
            </a:lvl2pPr>
            <a:lvl3pPr>
              <a:lnSpc>
                <a:spcPct val="130000"/>
              </a:lnSpc>
              <a:buClr>
                <a:schemeClr val="tx2"/>
              </a:buClr>
              <a:defRPr sz="2000"/>
            </a:lvl3pPr>
            <a:lvl4pPr>
              <a:lnSpc>
                <a:spcPct val="130000"/>
              </a:lnSpc>
              <a:buClr>
                <a:schemeClr val="tx2"/>
              </a:buClr>
              <a:defRPr sz="2000"/>
            </a:lvl4pPr>
            <a:lvl5pPr>
              <a:lnSpc>
                <a:spcPct val="130000"/>
              </a:lnSpc>
              <a:buClr>
                <a:schemeClr val="tx2"/>
              </a:buClr>
              <a:defRPr sz="2000"/>
            </a:lvl5pPr>
          </a:lstStyle>
          <a:p>
            <a:pPr lvl="0"/>
            <a:r>
              <a:rPr lang="en-GB"/>
              <a:t>Verdana, 20pt</a:t>
            </a:r>
          </a:p>
          <a:p>
            <a:pPr lvl="1"/>
            <a:r>
              <a:rPr lang="en-GB"/>
              <a:t>Verdana, 20pt</a:t>
            </a:r>
          </a:p>
          <a:p>
            <a:pPr lvl="2"/>
            <a:r>
              <a:rPr lang="en-GB"/>
              <a:t>Verdana, 20pt</a:t>
            </a:r>
          </a:p>
          <a:p>
            <a:pPr lvl="3"/>
            <a:r>
              <a:rPr lang="en-GB"/>
              <a:t>Verdana, 20pt</a:t>
            </a:r>
          </a:p>
          <a:p>
            <a:pPr lvl="4"/>
            <a:r>
              <a:rPr lang="en-GB"/>
              <a:t>Verdana, 20p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D503C95-F87B-47D5-9946-2C11BCD1A13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DA8EF392-9F40-49A5-9049-EF7D8A87733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8141960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lin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0D4B6A2-3040-4D02-8A1D-6F408E60BB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2252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0D4B6A2-3040-4D02-8A1D-6F408E60BB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76DDB46-68EF-4A07-86BD-4562769B21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6F600D6-5473-40C0-9972-DC2497C80A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8638" y="1376363"/>
            <a:ext cx="11125200" cy="4951412"/>
          </a:xfrm>
        </p:spPr>
        <p:txBody>
          <a:bodyPr/>
          <a:lstStyle>
            <a:lvl1pPr>
              <a:lnSpc>
                <a:spcPct val="130000"/>
              </a:lnSpc>
              <a:defRPr sz="2000"/>
            </a:lvl1pPr>
            <a:lvl2pPr>
              <a:lnSpc>
                <a:spcPct val="130000"/>
              </a:lnSpc>
              <a:buClr>
                <a:schemeClr val="tx2"/>
              </a:buClr>
              <a:defRPr sz="2000"/>
            </a:lvl2pPr>
            <a:lvl3pPr>
              <a:lnSpc>
                <a:spcPct val="130000"/>
              </a:lnSpc>
              <a:buClr>
                <a:schemeClr val="tx2"/>
              </a:buClr>
              <a:defRPr sz="2000"/>
            </a:lvl3pPr>
            <a:lvl4pPr>
              <a:lnSpc>
                <a:spcPct val="130000"/>
              </a:lnSpc>
              <a:buClr>
                <a:schemeClr val="tx2"/>
              </a:buClr>
              <a:defRPr sz="2000"/>
            </a:lvl4pPr>
            <a:lvl5pPr>
              <a:lnSpc>
                <a:spcPct val="130000"/>
              </a:lnSpc>
              <a:buClr>
                <a:schemeClr val="tx2"/>
              </a:buClr>
              <a:defRPr sz="2000"/>
            </a:lvl5pPr>
          </a:lstStyle>
          <a:p>
            <a:pPr lvl="0"/>
            <a:r>
              <a:rPr lang="en-GB"/>
              <a:t>Verdana, 20pt</a:t>
            </a:r>
          </a:p>
          <a:p>
            <a:pPr lvl="1"/>
            <a:r>
              <a:rPr lang="en-GB"/>
              <a:t>Verdana, 20pt</a:t>
            </a:r>
          </a:p>
          <a:p>
            <a:pPr lvl="2"/>
            <a:r>
              <a:rPr lang="en-GB"/>
              <a:t>Verdana, 20pt</a:t>
            </a:r>
          </a:p>
          <a:p>
            <a:pPr lvl="3"/>
            <a:r>
              <a:rPr lang="en-GB"/>
              <a:t>Verdana, 20pt</a:t>
            </a:r>
          </a:p>
          <a:p>
            <a:pPr lvl="4"/>
            <a:r>
              <a:rPr lang="en-GB"/>
              <a:t>Verdana, 20p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B970F5C-F8DB-47D9-9FC1-6FB391252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Headline, 28pt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DE30B1-130A-47D7-920E-49EEE37196A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0470DBC-0C50-4CEC-9BD6-24405C19ADB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93208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text and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0D4B6A2-3040-4D02-8A1D-6F408E60BB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04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0D4B6A2-3040-4D02-8A1D-6F408E60BB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76DDB46-68EF-4A07-86BD-4562769B21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869A35B-DD18-436A-805C-81BFD9CDC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638" y="288211"/>
            <a:ext cx="11125200" cy="430887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8036CF0-B2DD-4D94-9519-F97385079D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8638" y="696358"/>
            <a:ext cx="11125200" cy="430887"/>
          </a:xfrm>
        </p:spPr>
        <p:txBody>
          <a:bodyPr wrap="square">
            <a:spAutoFit/>
          </a:bodyPr>
          <a:lstStyle>
            <a:lvl1pPr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wo-lined headline, 28p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5CD2BA8-FE4C-46A7-BC0C-35686D58DD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8638" y="1376363"/>
            <a:ext cx="11125200" cy="3663158"/>
          </a:xfrm>
        </p:spPr>
        <p:txBody>
          <a:bodyPr>
            <a:noAutofit/>
          </a:bodyPr>
          <a:lstStyle>
            <a:lvl1pPr>
              <a:lnSpc>
                <a:spcPct val="130000"/>
              </a:lnSpc>
              <a:defRPr sz="2000"/>
            </a:lvl1pPr>
            <a:lvl2pPr>
              <a:lnSpc>
                <a:spcPct val="130000"/>
              </a:lnSpc>
              <a:defRPr sz="2000"/>
            </a:lvl2pPr>
            <a:lvl3pPr>
              <a:lnSpc>
                <a:spcPct val="130000"/>
              </a:lnSpc>
              <a:defRPr sz="2000"/>
            </a:lvl3pPr>
            <a:lvl4pPr>
              <a:lnSpc>
                <a:spcPct val="130000"/>
              </a:lnSpc>
              <a:defRPr sz="2000"/>
            </a:lvl4pPr>
            <a:lvl5pPr>
              <a:lnSpc>
                <a:spcPct val="130000"/>
              </a:lnSpc>
              <a:defRPr sz="2000"/>
            </a:lvl5pPr>
          </a:lstStyle>
          <a:p>
            <a:pPr lvl="0"/>
            <a:r>
              <a:rPr lang="en-GB"/>
              <a:t>Verdana, 20pt</a:t>
            </a:r>
          </a:p>
          <a:p>
            <a:pPr lvl="1"/>
            <a:r>
              <a:rPr lang="en-GB"/>
              <a:t>Verdana, 20pt</a:t>
            </a:r>
          </a:p>
          <a:p>
            <a:pPr lvl="2"/>
            <a:r>
              <a:rPr lang="en-GB"/>
              <a:t>Verdana, 20pt</a:t>
            </a:r>
          </a:p>
          <a:p>
            <a:pPr lvl="3"/>
            <a:r>
              <a:rPr lang="en-GB"/>
              <a:t>Verdana, 20pt</a:t>
            </a:r>
          </a:p>
          <a:p>
            <a:pPr lvl="4"/>
            <a:r>
              <a:rPr lang="en-GB"/>
              <a:t>Verdana, 20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AF27313-FC05-4F5C-9649-C22C6AAF46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8638" y="5447668"/>
            <a:ext cx="11125200" cy="880107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his is a take-away box, 12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18E8802-4910-40B2-A708-95F6845D0A6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5BE437F-9352-4263-9C3B-55CDFD4F962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613703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chart and take-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0D4B6A2-3040-4D02-8A1D-6F408E60BB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07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0D4B6A2-3040-4D02-8A1D-6F408E60BB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76DDB46-68EF-4A07-86BD-4562769B217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869A35B-DD18-436A-805C-81BFD9CDC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8638" y="288211"/>
            <a:ext cx="11125199" cy="430887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GB"/>
              <a:t>Headline, 28pt, one-lined headline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3F156FAA-C7A2-46EA-B59D-E181AC9EFF7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28638" y="1130142"/>
            <a:ext cx="5495925" cy="3919696"/>
          </a:xfrm>
        </p:spPr>
        <p:txBody>
          <a:bodyPr anchor="ctr">
            <a:noAutofit/>
          </a:bodyPr>
          <a:lstStyle>
            <a:lvl1pPr algn="ctr"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CLICK TO ADD CHART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1A8046B-8B43-49CB-A506-3194088305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7438" y="1130142"/>
            <a:ext cx="5486399" cy="246221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1600" b="1" cap="all" baseline="0"/>
            </a:lvl1pPr>
          </a:lstStyle>
          <a:p>
            <a:pPr lvl="0"/>
            <a:r>
              <a:rPr lang="en-GB"/>
              <a:t>SUBHEADLINE, 16pt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D992ECF0-4500-482E-88E8-3A71478B5FF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67439" y="1944209"/>
            <a:ext cx="5486399" cy="3105629"/>
          </a:xfrm>
        </p:spPr>
        <p:txBody>
          <a:bodyPr>
            <a:noAutofit/>
          </a:bodyPr>
          <a:lstStyle>
            <a:lvl1pPr>
              <a:defRPr sz="1200"/>
            </a:lvl1pPr>
            <a:lvl2pPr marL="180000" indent="-180000">
              <a:buFont typeface="Verdana" panose="020B0604030504040204" pitchFamily="34" charset="0"/>
              <a:buChar char="•"/>
              <a:defRPr sz="1200"/>
            </a:lvl2pPr>
            <a:lvl3pPr marL="360000" indent="-180000">
              <a:buFont typeface="Verdana" panose="020B0604030504040204" pitchFamily="34" charset="0"/>
              <a:buChar char="•"/>
              <a:defRPr sz="1200"/>
            </a:lvl3pPr>
            <a:lvl4pPr marL="540000" indent="-180000">
              <a:buFont typeface="Verdana" panose="020B0604030504040204" pitchFamily="34" charset="0"/>
              <a:buChar char="•"/>
              <a:defRPr sz="1200"/>
            </a:lvl4pPr>
            <a:lvl5pPr marL="720000" indent="-180000">
              <a:buFont typeface="Verdana" panose="020B0604030504040204" pitchFamily="34" charset="0"/>
              <a:buChar char="•"/>
              <a:defRPr sz="1200"/>
            </a:lvl5pPr>
          </a:lstStyle>
          <a:p>
            <a:pPr lvl="0"/>
            <a:r>
              <a:rPr lang="en-GB"/>
              <a:t>Verdana, 12pt</a:t>
            </a:r>
          </a:p>
          <a:p>
            <a:pPr lvl="1"/>
            <a:r>
              <a:rPr lang="en-GB"/>
              <a:t>Verdana, 12pt</a:t>
            </a:r>
          </a:p>
          <a:p>
            <a:pPr lvl="2"/>
            <a:r>
              <a:rPr lang="en-GB"/>
              <a:t>Verdana, 12pt</a:t>
            </a:r>
          </a:p>
          <a:p>
            <a:pPr lvl="3"/>
            <a:r>
              <a:rPr lang="en-GB"/>
              <a:t>Verdana, 12pt</a:t>
            </a:r>
          </a:p>
          <a:p>
            <a:pPr lvl="4"/>
            <a:r>
              <a:rPr lang="en-GB"/>
              <a:t>Verdana, 12pt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76F0B9D7-8363-4F14-8916-6DCE3348BC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8639" y="5447668"/>
            <a:ext cx="11125200" cy="880107"/>
          </a:xfrm>
          <a:solidFill>
            <a:schemeClr val="tx2"/>
          </a:solidFill>
        </p:spPr>
        <p:txBody>
          <a:bodyPr anchor="ctr">
            <a:noAutofit/>
          </a:bodyPr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his is a take-away box, 12p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6878721-44D8-4BD0-8461-751E2F4284C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840D35A-E6CF-4088-97C6-D8590C815F0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23761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 userDrawn="1">
          <p15:clr>
            <a:srgbClr val="FBAE40"/>
          </p15:clr>
        </p15:guide>
        <p15:guide id="2" pos="379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F9BD4F9-4101-40FD-B656-F8EF2BF6F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09075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306" imgH="306" progId="TCLayout.ActiveDocument.1">
                  <p:embed/>
                </p:oleObj>
              </mc:Choice>
              <mc:Fallback>
                <p:oleObj name="think-cell Folie" r:id="rId19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F9BD4F9-4101-40FD-B656-F8EF2BF6F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C855D7D-6870-4AB6-87E4-AB59AFA877B9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6DD8F47-FBE8-4621-9A1F-24E91265E4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696358"/>
            <a:ext cx="11125200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GB"/>
              <a:t>Headline, 28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BC43FF-5FF3-4847-9EA0-4EE8413413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8638" y="1376363"/>
            <a:ext cx="11125200" cy="49400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Verdana, 23pt</a:t>
            </a:r>
          </a:p>
          <a:p>
            <a:pPr lvl="1"/>
            <a:r>
              <a:rPr lang="en-GB"/>
              <a:t>Verdana, 20pt</a:t>
            </a:r>
          </a:p>
          <a:p>
            <a:pPr lvl="2"/>
            <a:r>
              <a:rPr lang="en-GB"/>
              <a:t>Verdana, 20pt</a:t>
            </a:r>
          </a:p>
          <a:p>
            <a:pPr lvl="3"/>
            <a:r>
              <a:rPr lang="en-GB"/>
              <a:t>Verdana, 20pt</a:t>
            </a:r>
          </a:p>
          <a:p>
            <a:pPr lvl="4"/>
            <a:r>
              <a:rPr lang="en-GB"/>
              <a:t>Verdana, 20pt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134AB8FB-41A4-4529-B8F9-11B92660EF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8638" y="6510242"/>
            <a:ext cx="331787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48050AE3-0D73-4142-BECE-DF5058C9FB53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C673579-8304-4CB8-B595-B3D93C55C613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3088" y="6485573"/>
            <a:ext cx="920750" cy="220056"/>
          </a:xfrm>
          <a:prstGeom prst="rect">
            <a:avLst/>
          </a:prstGeom>
        </p:spPr>
      </p:pic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8BD1E64F-76F5-934F-9908-6056F0770C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5038" y="6510242"/>
            <a:ext cx="88153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U5 | March 2021</a:t>
            </a:r>
          </a:p>
        </p:txBody>
      </p:sp>
    </p:spTree>
    <p:extLst>
      <p:ext uri="{BB962C8B-B14F-4D97-AF65-F5344CB8AC3E}">
        <p14:creationId xmlns:p14="http://schemas.microsoft.com/office/powerpoint/2010/main" val="1509814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1" r:id="rId3"/>
    <p:sldLayoutId id="2147483662" r:id="rId4"/>
    <p:sldLayoutId id="2147483654" r:id="rId5"/>
    <p:sldLayoutId id="2147483663" r:id="rId6"/>
    <p:sldLayoutId id="2147483670" r:id="rId7"/>
    <p:sldLayoutId id="2147483669" r:id="rId8"/>
    <p:sldLayoutId id="2147483664" r:id="rId9"/>
    <p:sldLayoutId id="2147483671" r:id="rId10"/>
    <p:sldLayoutId id="2147483665" r:id="rId11"/>
    <p:sldLayoutId id="2147483666" r:id="rId12"/>
    <p:sldLayoutId id="2147483655" r:id="rId13"/>
    <p:sldLayoutId id="2147483667" r:id="rId14"/>
    <p:sldLayoutId id="2147483668" r:id="rId1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buFont typeface="Arial" panose="020B0604020202020204" pitchFamily="34" charset="0"/>
        <a:buNone/>
        <a:defRPr sz="23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Verdana" panose="020B0604030504040204" pitchFamily="34" charset="0"/>
        <a:buChar char="•"/>
        <a:defRPr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Verdana" panose="020B0604030504040204" pitchFamily="34" charset="0"/>
        <a:buChar char="•"/>
        <a:defRPr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Verdana" panose="020B0604030504040204" pitchFamily="34" charset="0"/>
        <a:buChar char="•"/>
        <a:defRPr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Verdana" panose="020B0604030504040204" pitchFamily="34" charset="0"/>
        <a:buChar char="•"/>
        <a:defRPr sz="20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 userDrawn="1">
          <p15:clr>
            <a:srgbClr val="F26B43"/>
          </p15:clr>
        </p15:guide>
        <p15:guide id="2" orient="horz" pos="867" userDrawn="1">
          <p15:clr>
            <a:srgbClr val="F26B43"/>
          </p15:clr>
        </p15:guide>
        <p15:guide id="3" pos="333" userDrawn="1">
          <p15:clr>
            <a:srgbClr val="F26B43"/>
          </p15:clr>
        </p15:guide>
        <p15:guide id="4" pos="7341" userDrawn="1">
          <p15:clr>
            <a:srgbClr val="F26B43"/>
          </p15:clr>
        </p15:guide>
        <p15:guide id="5" orient="horz" pos="4201" userDrawn="1">
          <p15:clr>
            <a:srgbClr val="F26B43"/>
          </p15:clr>
        </p15:guide>
        <p15:guide id="6" orient="horz" pos="3986" userDrawn="1">
          <p15:clr>
            <a:srgbClr val="F26B43"/>
          </p15:clr>
        </p15:guide>
        <p15:guide id="7" orient="horz" pos="31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.x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7.xml"/><Relationship Id="rId6" Type="http://schemas.openxmlformats.org/officeDocument/2006/relationships/image" Target="../media/image3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4.jpe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8.xml"/><Relationship Id="rId6" Type="http://schemas.openxmlformats.org/officeDocument/2006/relationships/image" Target="../media/image4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.xml"/><Relationship Id="rId6" Type="http://schemas.openxmlformats.org/officeDocument/2006/relationships/image" Target="../media/image4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6.xml"/><Relationship Id="rId6" Type="http://schemas.openxmlformats.org/officeDocument/2006/relationships/image" Target="../media/image4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7.xml"/><Relationship Id="rId6" Type="http://schemas.openxmlformats.org/officeDocument/2006/relationships/image" Target="../media/image4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8.xml"/><Relationship Id="rId6" Type="http://schemas.openxmlformats.org/officeDocument/2006/relationships/image" Target="../media/image4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9.x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0.xml"/><Relationship Id="rId6" Type="http://schemas.openxmlformats.org/officeDocument/2006/relationships/image" Target="../media/image5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1.xml"/><Relationship Id="rId6" Type="http://schemas.openxmlformats.org/officeDocument/2006/relationships/image" Target="../media/image5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2.xml"/><Relationship Id="rId6" Type="http://schemas.openxmlformats.org/officeDocument/2006/relationships/image" Target="../media/image5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.xml"/><Relationship Id="rId6" Type="http://schemas.openxmlformats.org/officeDocument/2006/relationships/image" Target="../media/image5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4.xml"/><Relationship Id="rId6" Type="http://schemas.openxmlformats.org/officeDocument/2006/relationships/image" Target="../media/image5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.xml"/><Relationship Id="rId6" Type="http://schemas.openxmlformats.org/officeDocument/2006/relationships/image" Target="../media/image5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.xml"/><Relationship Id="rId6" Type="http://schemas.openxmlformats.org/officeDocument/2006/relationships/image" Target="../media/image5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3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6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2.xml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emf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7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32A520C-4E6F-48A4-8E6F-921B8E78A3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32A520C-4E6F-48A4-8E6F-921B8E78A3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28CD779-A7B0-4E74-BA70-25E6BDADEFB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400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6578ADF3-6581-4BAB-A1D7-352991854B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8638" y="1924368"/>
            <a:ext cx="5643499" cy="615553"/>
          </a:xfrm>
        </p:spPr>
        <p:txBody>
          <a:bodyPr/>
          <a:lstStyle/>
          <a:p>
            <a:r>
              <a:rPr lang="en-GB"/>
              <a:t>Becker</a:t>
            </a:r>
          </a:p>
        </p:txBody>
      </p:sp>
      <p:sp>
        <p:nvSpPr>
          <p:cNvPr id="19" name="Untertitel 18">
            <a:extLst>
              <a:ext uri="{FF2B5EF4-FFF2-40B4-BE49-F238E27FC236}">
                <a16:creationId xmlns:a16="http://schemas.microsoft.com/office/drawing/2014/main" id="{00A888DB-C61C-4027-B39A-161F51F584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8639" y="2531983"/>
            <a:ext cx="5643500" cy="1269578"/>
          </a:xfrm>
        </p:spPr>
        <p:txBody>
          <a:bodyPr/>
          <a:lstStyle/>
          <a:p>
            <a:r>
              <a:rPr lang="en-GB"/>
              <a:t>U5.</a:t>
            </a:r>
          </a:p>
          <a:p>
            <a:endParaRPr lang="en-GB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36D441AA-2B30-4692-ACD9-4738CBCC33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8637" y="3449083"/>
            <a:ext cx="5643500" cy="353943"/>
          </a:xfrm>
        </p:spPr>
        <p:txBody>
          <a:bodyPr/>
          <a:lstStyle/>
          <a:p>
            <a:r>
              <a:rPr lang="en-GB" sz="2000"/>
              <a:t>Oil lubricated rotary vane pumps</a:t>
            </a:r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17913F0-ED74-480A-AE0F-011804D6B8D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8000" y="-509376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4325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276817"/>
            <a:ext cx="6248136" cy="430887"/>
          </a:xfrm>
        </p:spPr>
        <p:txBody>
          <a:bodyPr/>
          <a:lstStyle/>
          <a:p>
            <a:r>
              <a:rPr lang="en-GB"/>
              <a:t>U5.71/101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D617F71-D9B9-45DE-9CB4-BDD8E3CB8D9B}"/>
              </a:ext>
            </a:extLst>
          </p:cNvPr>
          <p:cNvSpPr>
            <a:spLocks/>
          </p:cNvSpPr>
          <p:nvPr/>
        </p:nvSpPr>
        <p:spPr>
          <a:xfrm>
            <a:off x="1106170" y="1634213"/>
            <a:ext cx="4194708" cy="35656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AU" altLang="de-DE" sz="1600" b="1">
                <a:solidFill>
                  <a:schemeClr val="tx2"/>
                </a:solidFill>
              </a:rPr>
              <a:t>        </a:t>
            </a:r>
            <a:r>
              <a:rPr lang="en-AU" altLang="de-DE" sz="1600" b="1" u="sng">
                <a:solidFill>
                  <a:schemeClr val="tx2"/>
                </a:solidFill>
              </a:rPr>
              <a:t>Standard</a:t>
            </a:r>
            <a:r>
              <a:rPr lang="en-AU" altLang="de-DE" sz="1600" b="1">
                <a:solidFill>
                  <a:schemeClr val="tx2"/>
                </a:solidFill>
              </a:rPr>
              <a:t> (Diverting cap)	</a:t>
            </a:r>
            <a:endParaRPr lang="en-GB" sz="1600" b="1">
              <a:solidFill>
                <a:schemeClr val="tx2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64D2F71-7C6C-4B96-AD9C-2335FDC750C2}"/>
              </a:ext>
            </a:extLst>
          </p:cNvPr>
          <p:cNvSpPr>
            <a:spLocks/>
          </p:cNvSpPr>
          <p:nvPr/>
        </p:nvSpPr>
        <p:spPr>
          <a:xfrm>
            <a:off x="6407208" y="1677611"/>
            <a:ext cx="4200349" cy="62737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/>
            <a:r>
              <a:rPr lang="en-AU" altLang="de-DE" sz="1600" b="1" u="sng">
                <a:solidFill>
                  <a:schemeClr val="tx2"/>
                </a:solidFill>
                <a:cs typeface="Arial" pitchFamily="34" charset="0"/>
              </a:rPr>
              <a:t>Optional</a:t>
            </a:r>
            <a:r>
              <a:rPr lang="en-AU" altLang="de-DE" sz="1600" b="1">
                <a:solidFill>
                  <a:schemeClr val="tx2"/>
                </a:solidFill>
                <a:cs typeface="Arial" pitchFamily="34" charset="0"/>
              </a:rPr>
              <a:t> (Female thread</a:t>
            </a:r>
          </a:p>
          <a:p>
            <a:pPr algn="ctr"/>
            <a:r>
              <a:rPr lang="en-AU" altLang="de-DE" sz="1600" b="1">
                <a:solidFill>
                  <a:schemeClr val="tx2"/>
                </a:solidFill>
                <a:cs typeface="Arial" pitchFamily="34" charset="0"/>
              </a:rPr>
              <a:t>and burst valve)</a:t>
            </a:r>
          </a:p>
        </p:txBody>
      </p:sp>
      <p:sp>
        <p:nvSpPr>
          <p:cNvPr id="11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694651"/>
            <a:ext cx="6248136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>
                <a:solidFill>
                  <a:schemeClr val="accent2"/>
                </a:solidFill>
                <a:latin typeface="Verdana"/>
                <a:ea typeface="Verdana"/>
              </a:rPr>
              <a:t>exhaust connection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240D91-6B6C-4D28-AB5F-2D46AEFF18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1507" y="2683807"/>
            <a:ext cx="4609373" cy="3531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F4D41CE8-B6AC-406A-AAC2-66E2B2CC62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14050" y="2683807"/>
            <a:ext cx="4479050" cy="3440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2721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694651"/>
            <a:ext cx="3481888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accessorie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D617F71-D9B9-45DE-9CB4-BDD8E3CB8D9B}"/>
              </a:ext>
            </a:extLst>
          </p:cNvPr>
          <p:cNvSpPr>
            <a:spLocks/>
          </p:cNvSpPr>
          <p:nvPr/>
        </p:nvSpPr>
        <p:spPr>
          <a:xfrm>
            <a:off x="1496644" y="1387435"/>
            <a:ext cx="2962347" cy="42630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/>
            <a:r>
              <a:rPr lang="en-US" altLang="de-DE" sz="1600" b="1">
                <a:solidFill>
                  <a:schemeClr val="tx2"/>
                </a:solidFill>
              </a:rPr>
              <a:t>U5.166/201/301</a:t>
            </a:r>
            <a:br>
              <a:rPr lang="en-US" altLang="de-DE" sz="1600" b="1">
                <a:solidFill>
                  <a:schemeClr val="tx2"/>
                </a:solidFill>
              </a:rPr>
            </a:br>
            <a:r>
              <a:rPr lang="en-US" altLang="de-DE" sz="1600" b="1">
                <a:solidFill>
                  <a:schemeClr val="tx2"/>
                </a:solidFill>
              </a:rPr>
              <a:t> with standard covers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64D2F71-7C6C-4B96-AD9C-2335FDC750C2}"/>
              </a:ext>
            </a:extLst>
          </p:cNvPr>
          <p:cNvSpPr>
            <a:spLocks/>
          </p:cNvSpPr>
          <p:nvPr/>
        </p:nvSpPr>
        <p:spPr>
          <a:xfrm>
            <a:off x="6104989" y="1394506"/>
            <a:ext cx="3866552" cy="62737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/>
            <a:r>
              <a:rPr lang="en-AU" sz="1600" b="1">
                <a:solidFill>
                  <a:schemeClr val="tx2"/>
                </a:solidFill>
              </a:rPr>
              <a:t>U5.166/201/301 Optional covers</a:t>
            </a:r>
            <a:br>
              <a:rPr lang="en-AU" sz="1600" b="1">
                <a:solidFill>
                  <a:schemeClr val="tx2"/>
                </a:solidFill>
              </a:rPr>
            </a:br>
            <a:r>
              <a:rPr lang="en-AU" sz="1600" b="1">
                <a:solidFill>
                  <a:schemeClr val="tx2"/>
                </a:solidFill>
              </a:rPr>
              <a:t>Female thread with burst valve</a:t>
            </a:r>
            <a:br>
              <a:rPr lang="en-US" sz="1600" b="1">
                <a:solidFill>
                  <a:schemeClr val="tx2"/>
                </a:solidFill>
              </a:rPr>
            </a:br>
            <a:endParaRPr lang="de-DE" sz="1600" b="1">
              <a:solidFill>
                <a:schemeClr val="tx2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66" t="25479" r="42690" b="19873"/>
          <a:stretch/>
        </p:blipFill>
        <p:spPr bwMode="auto">
          <a:xfrm>
            <a:off x="1628485" y="2164494"/>
            <a:ext cx="2585416" cy="3688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67" t="21110" r="40933" b="16006"/>
          <a:stretch/>
        </p:blipFill>
        <p:spPr bwMode="auto">
          <a:xfrm>
            <a:off x="6778419" y="2364974"/>
            <a:ext cx="2431439" cy="3487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Line 15"/>
          <p:cNvSpPr>
            <a:spLocks noChangeShapeType="1"/>
          </p:cNvSpPr>
          <p:nvPr/>
        </p:nvSpPr>
        <p:spPr bwMode="auto">
          <a:xfrm flipV="1">
            <a:off x="1388533" y="3065623"/>
            <a:ext cx="700008" cy="487403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15" name="Line 15"/>
          <p:cNvSpPr>
            <a:spLocks noChangeShapeType="1"/>
          </p:cNvSpPr>
          <p:nvPr/>
        </p:nvSpPr>
        <p:spPr bwMode="auto">
          <a:xfrm flipV="1">
            <a:off x="1388533" y="3133691"/>
            <a:ext cx="2042448" cy="419335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16" name="Line 37"/>
          <p:cNvSpPr>
            <a:spLocks noChangeShapeType="1"/>
          </p:cNvSpPr>
          <p:nvPr/>
        </p:nvSpPr>
        <p:spPr bwMode="auto">
          <a:xfrm flipV="1">
            <a:off x="1087917" y="5080266"/>
            <a:ext cx="1881317" cy="125445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17" name="Line 15"/>
          <p:cNvSpPr>
            <a:spLocks noChangeShapeType="1"/>
          </p:cNvSpPr>
          <p:nvPr/>
        </p:nvSpPr>
        <p:spPr bwMode="auto">
          <a:xfrm flipH="1">
            <a:off x="3708783" y="5569724"/>
            <a:ext cx="745070" cy="47264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18" name="Line 15"/>
          <p:cNvSpPr>
            <a:spLocks noChangeShapeType="1"/>
          </p:cNvSpPr>
          <p:nvPr/>
        </p:nvSpPr>
        <p:spPr bwMode="auto">
          <a:xfrm flipH="1">
            <a:off x="3869774" y="4032376"/>
            <a:ext cx="778346" cy="299585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endParaRPr lang="en-US" sz="1600">
              <a:latin typeface="+mn-lt"/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7951" y="5205711"/>
            <a:ext cx="932495" cy="91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Line 15"/>
          <p:cNvSpPr>
            <a:spLocks noChangeShapeType="1"/>
          </p:cNvSpPr>
          <p:nvPr/>
        </p:nvSpPr>
        <p:spPr bwMode="auto">
          <a:xfrm flipV="1">
            <a:off x="6529495" y="4808138"/>
            <a:ext cx="1002471" cy="680363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endParaRPr lang="en-US" sz="1600">
              <a:latin typeface="+mn-lt"/>
            </a:endParaRPr>
          </a:p>
        </p:txBody>
      </p:sp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2484" y="4790081"/>
            <a:ext cx="765120" cy="1006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Line 15"/>
          <p:cNvSpPr>
            <a:spLocks noChangeShapeType="1"/>
          </p:cNvSpPr>
          <p:nvPr/>
        </p:nvSpPr>
        <p:spPr bwMode="auto">
          <a:xfrm flipH="1">
            <a:off x="8374493" y="5488501"/>
            <a:ext cx="1204935" cy="31815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endParaRPr lang="en-US" sz="1600">
              <a:latin typeface="+mn-lt"/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3095" y="4167760"/>
            <a:ext cx="1019857" cy="912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Line 15"/>
          <p:cNvSpPr>
            <a:spLocks noChangeShapeType="1"/>
          </p:cNvSpPr>
          <p:nvPr/>
        </p:nvSpPr>
        <p:spPr bwMode="auto">
          <a:xfrm flipH="1">
            <a:off x="8621575" y="1803250"/>
            <a:ext cx="425605" cy="1388411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25" name="Line 15"/>
          <p:cNvSpPr>
            <a:spLocks noChangeShapeType="1"/>
          </p:cNvSpPr>
          <p:nvPr/>
        </p:nvSpPr>
        <p:spPr bwMode="auto">
          <a:xfrm flipH="1">
            <a:off x="7444238" y="1893561"/>
            <a:ext cx="289767" cy="1240131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95296" y="3306072"/>
            <a:ext cx="803425" cy="5057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1700"/>
              </a:lnSpc>
            </a:pPr>
            <a:r>
              <a:rPr lang="de-DE" altLang="de-DE" sz="1200" err="1">
                <a:solidFill>
                  <a:schemeClr val="tx2"/>
                </a:solidFill>
                <a:cs typeface="Arial" charset="0"/>
              </a:rPr>
              <a:t>Exhaust</a:t>
            </a:r>
            <a:endParaRPr lang="de-DE" altLang="de-DE" sz="1200">
              <a:solidFill>
                <a:schemeClr val="tx2"/>
              </a:solidFill>
              <a:cs typeface="Arial" charset="0"/>
            </a:endParaRPr>
          </a:p>
          <a:p>
            <a:pPr>
              <a:lnSpc>
                <a:spcPts val="1700"/>
              </a:lnSpc>
            </a:pPr>
            <a:r>
              <a:rPr lang="de-DE" altLang="de-DE" sz="1200" err="1">
                <a:solidFill>
                  <a:schemeClr val="tx2"/>
                </a:solidFill>
                <a:cs typeface="Arial" charset="0"/>
              </a:rPr>
              <a:t>air</a:t>
            </a:r>
            <a:endParaRPr lang="en-GB" sz="1200">
              <a:solidFill>
                <a:schemeClr val="tx2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46402" y="5251760"/>
            <a:ext cx="11089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>
                <a:solidFill>
                  <a:schemeClr val="tx2"/>
                </a:solidFill>
              </a:rPr>
              <a:t>Oil sight glass for oil check</a:t>
            </a:r>
            <a:br>
              <a:rPr lang="en-AU" sz="1200">
                <a:solidFill>
                  <a:schemeClr val="tx2"/>
                </a:solidFill>
              </a:rPr>
            </a:br>
            <a:r>
              <a:rPr lang="en-AU" sz="1200">
                <a:solidFill>
                  <a:schemeClr val="tx2"/>
                </a:solidFill>
              </a:rPr>
              <a:t>(min/max)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4722175" y="3777671"/>
            <a:ext cx="1382814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1200">
                <a:solidFill>
                  <a:schemeClr val="tx2"/>
                </a:solidFill>
              </a:rPr>
              <a:t>Oil</a:t>
            </a:r>
            <a:br>
              <a:rPr lang="de-DE" sz="1200">
                <a:solidFill>
                  <a:schemeClr val="tx2"/>
                </a:solidFill>
              </a:rPr>
            </a:br>
            <a:r>
              <a:rPr lang="de-DE" sz="1200" err="1">
                <a:solidFill>
                  <a:schemeClr val="tx2"/>
                </a:solidFill>
              </a:rPr>
              <a:t>inlet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4520103" y="5079922"/>
            <a:ext cx="9324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>
                <a:solidFill>
                  <a:schemeClr val="tx2"/>
                </a:solidFill>
              </a:rPr>
              <a:t>Oil drain screw; oil outlet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5759612" y="4489932"/>
            <a:ext cx="9324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>
                <a:solidFill>
                  <a:schemeClr val="tx2"/>
                </a:solidFill>
              </a:rPr>
              <a:t>Oil level switch</a:t>
            </a:r>
            <a:br>
              <a:rPr lang="en-AU" sz="1200">
                <a:solidFill>
                  <a:schemeClr val="tx2"/>
                </a:solidFill>
              </a:rPr>
            </a:br>
            <a:r>
              <a:rPr lang="en-AU" sz="1200">
                <a:solidFill>
                  <a:schemeClr val="tx2"/>
                </a:solidFill>
              </a:rPr>
              <a:t>(or plug) 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10141107" y="5229383"/>
            <a:ext cx="15564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tx2"/>
                </a:solidFill>
              </a:rPr>
              <a:t>Oil temperature  monitor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10145670" y="3029941"/>
            <a:ext cx="15564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>
                <a:solidFill>
                  <a:schemeClr val="tx2"/>
                </a:solidFill>
              </a:rPr>
              <a:t>Plug or maintenance indicator for oil separating elements</a:t>
            </a:r>
          </a:p>
        </p:txBody>
      </p:sp>
      <p:sp>
        <p:nvSpPr>
          <p:cNvPr id="35" name="Line 15"/>
          <p:cNvSpPr>
            <a:spLocks noChangeShapeType="1"/>
          </p:cNvSpPr>
          <p:nvPr/>
        </p:nvSpPr>
        <p:spPr bwMode="auto">
          <a:xfrm flipH="1">
            <a:off x="8863147" y="3897241"/>
            <a:ext cx="1277960" cy="500357"/>
          </a:xfrm>
          <a:prstGeom prst="line">
            <a:avLst/>
          </a:prstGeom>
          <a:noFill/>
          <a:ln w="28575">
            <a:solidFill>
              <a:schemeClr val="accent2"/>
            </a:solidFill>
            <a:round/>
            <a:headEnd/>
            <a:tailEnd type="triangle" w="sm" len="med"/>
          </a:ln>
        </p:spPr>
        <p:txBody>
          <a:bodyPr wrap="none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36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57574"/>
            <a:ext cx="2596444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U5. 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01E3E57-E5B7-4292-9449-D42AE331A006}"/>
              </a:ext>
            </a:extLst>
          </p:cNvPr>
          <p:cNvSpPr/>
          <p:nvPr/>
        </p:nvSpPr>
        <p:spPr>
          <a:xfrm>
            <a:off x="6971458" y="6064847"/>
            <a:ext cx="47772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de-DE" sz="1400" b="1">
                <a:solidFill>
                  <a:schemeClr val="tx2"/>
                </a:solidFill>
              </a:rPr>
              <a:t>Optional: Service cover with different options</a:t>
            </a:r>
          </a:p>
        </p:txBody>
      </p:sp>
    </p:spTree>
    <p:extLst>
      <p:ext uri="{BB962C8B-B14F-4D97-AF65-F5344CB8AC3E}">
        <p14:creationId xmlns:p14="http://schemas.microsoft.com/office/powerpoint/2010/main" val="2227759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694651"/>
            <a:ext cx="4450277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gas ballast valv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3" name="Textfeld 2"/>
          <p:cNvSpPr txBox="1"/>
          <p:nvPr/>
        </p:nvSpPr>
        <p:spPr>
          <a:xfrm>
            <a:off x="528638" y="1391589"/>
            <a:ext cx="742824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tx2"/>
                </a:solidFill>
              </a:rPr>
              <a:t>U5.71 &amp; U5.102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Fixed gas ballast valve &lt;1 mbar as standar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Adjustable optional gas ballast valve &lt;3 mbar for moist applications</a:t>
            </a:r>
          </a:p>
          <a:p>
            <a:pPr lvl="1"/>
            <a:endParaRPr lang="en-GB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tx2"/>
                </a:solidFill>
              </a:rPr>
              <a:t>U5.166-30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Adjustable gas ballast valve &lt;1 mbar as standar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tx2"/>
                </a:solidFill>
              </a:rPr>
              <a:t>Adjustable optional gas ballast valve &lt;3 mbar for moist applica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>
                <a:solidFill>
                  <a:schemeClr val="tx2"/>
                </a:solidFill>
              </a:rPr>
              <a:t>Ultimate vacuum without gas ballast valve &lt;0.1 mb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>
              <a:solidFill>
                <a:schemeClr val="tx2"/>
              </a:solidFill>
            </a:endParaRPr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7" y="212976"/>
            <a:ext cx="4450277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U5.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12" name="Picture 3" descr="Großes Konfetti">
            <a:extLst>
              <a:ext uri="{FF2B5EF4-FFF2-40B4-BE49-F238E27FC236}">
                <a16:creationId xmlns:a16="http://schemas.microsoft.com/office/drawing/2014/main" id="{3F41F5C2-5A67-4881-81C1-645F085BD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7118" y="1436498"/>
            <a:ext cx="3196244" cy="2401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96633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 descr="Großes Konfetti">
            <a:extLst>
              <a:ext uri="{FF2B5EF4-FFF2-40B4-BE49-F238E27FC236}">
                <a16:creationId xmlns:a16="http://schemas.microsoft.com/office/drawing/2014/main" id="{958BBB51-6F2F-4CAE-AC38-9832269712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5446" y="4057326"/>
            <a:ext cx="1819587" cy="1822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96633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64123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694651"/>
            <a:ext cx="4450277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externa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3" name="Textfeld 2"/>
          <p:cNvSpPr txBox="1"/>
          <p:nvPr/>
        </p:nvSpPr>
        <p:spPr>
          <a:xfrm>
            <a:off x="528636" y="1385888"/>
            <a:ext cx="1112520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b="1">
                <a:solidFill>
                  <a:schemeClr val="tx2"/>
                </a:solidFill>
              </a:rPr>
              <a:t>Smooth surfa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>
                <a:solidFill>
                  <a:schemeClr val="tx2"/>
                </a:solidFill>
              </a:rPr>
              <a:t>Reduction of deposits in potential nests </a:t>
            </a:r>
            <a:br>
              <a:rPr lang="en-AU" b="1">
                <a:solidFill>
                  <a:schemeClr val="tx2"/>
                </a:solidFill>
              </a:rPr>
            </a:br>
            <a:endParaRPr lang="en-AU" b="1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b="1">
                <a:solidFill>
                  <a:schemeClr val="tx2"/>
                </a:solidFill>
              </a:rPr>
              <a:t>Corrosion resistanc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>
                <a:solidFill>
                  <a:schemeClr val="tx2"/>
                </a:solidFill>
              </a:rPr>
              <a:t>All U5. pumps are lacquered</a:t>
            </a:r>
            <a:br>
              <a:rPr lang="en-AU" b="1">
                <a:solidFill>
                  <a:schemeClr val="tx2"/>
                </a:solidFill>
              </a:rPr>
            </a:br>
            <a:endParaRPr lang="en-AU" b="1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b="1">
                <a:solidFill>
                  <a:schemeClr val="tx2"/>
                </a:solidFill>
              </a:rPr>
              <a:t>Wash-down capabl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>
                <a:solidFill>
                  <a:schemeClr val="tx2"/>
                </a:solidFill>
              </a:rPr>
              <a:t>IP55</a:t>
            </a:r>
          </a:p>
          <a:p>
            <a:endParaRPr lang="de-DE">
              <a:solidFill>
                <a:schemeClr val="tx2"/>
              </a:solidFill>
            </a:endParaRPr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7" y="212976"/>
            <a:ext cx="4450277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U5.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10" name="image.jpg">
            <a:extLst>
              <a:ext uri="{FF2B5EF4-FFF2-40B4-BE49-F238E27FC236}">
                <a16:creationId xmlns:a16="http://schemas.microsoft.com/office/drawing/2014/main" id="{2716CB84-AAFF-4C7D-AE41-EE218926AE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81458" y="4212511"/>
            <a:ext cx="4222813" cy="1918207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Grafik 7" descr="Ein Bild, das Elektronik, Projektor enthält.&#10;&#10;Automatisch generierte Beschreibung">
            <a:extLst>
              <a:ext uri="{FF2B5EF4-FFF2-40B4-BE49-F238E27FC236}">
                <a16:creationId xmlns:a16="http://schemas.microsoft.com/office/drawing/2014/main" id="{F30D2D19-46D1-4D24-BD87-F6F8B3702C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1236" y="386327"/>
            <a:ext cx="6939257" cy="3903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4738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2013EF-C0E7-4E45-BE90-C9ECE205B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288211"/>
            <a:ext cx="11125200" cy="430887"/>
          </a:xfrm>
        </p:spPr>
        <p:txBody>
          <a:bodyPr/>
          <a:lstStyle/>
          <a:p>
            <a:r>
              <a:rPr lang="en-GB"/>
              <a:t>U5.</a:t>
            </a:r>
            <a:endParaRPr lang="en-AU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11D2B9-72FA-4B48-A90C-F6BE3F9971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AU"/>
              <a:t>accessories and system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520A21-15F3-48DE-9B30-9CFEC9A1B0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AU" sz="1800" b="1"/>
              <a:t>Broad range of external accessori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Inlet filter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Water separator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Tank system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Cabl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Etc. </a:t>
            </a:r>
          </a:p>
          <a:p>
            <a:pPr>
              <a:lnSpc>
                <a:spcPct val="100000"/>
              </a:lnSpc>
            </a:pPr>
            <a:endParaRPr lang="en-AU" sz="180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0C368B-932C-463D-9EC9-24E5D4A764D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0B9D6C-B342-483B-A3F5-C573B8861C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14</a:t>
            </a:fld>
            <a:endParaRPr lang="en-GB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476E194-2E69-4600-BC9A-0D7532D0E2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97654" y="1305252"/>
            <a:ext cx="2132346" cy="212374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83FB6ED7-05AD-4DEC-8B05-E02F10EE93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48904" y="4050896"/>
            <a:ext cx="1081096" cy="165498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E7823947-0253-40D6-AEF1-35A865AD64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1964" y="3607007"/>
            <a:ext cx="1143102" cy="212374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2025FF01-7CC0-451F-934B-DCF1E0543C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7018" y="4011684"/>
            <a:ext cx="2132347" cy="1694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7960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2013EF-C0E7-4E45-BE90-C9ECE205B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288211"/>
            <a:ext cx="11125200" cy="430887"/>
          </a:xfrm>
        </p:spPr>
        <p:txBody>
          <a:bodyPr/>
          <a:lstStyle/>
          <a:p>
            <a:r>
              <a:rPr lang="en-GB"/>
              <a:t>U5.</a:t>
            </a:r>
            <a:endParaRPr lang="en-AU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11D2B9-72FA-4B48-A90C-F6BE3F9971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AU"/>
              <a:t>XL version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520A21-15F3-48DE-9B30-9CFEC9A1B0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U5.71 – 301 XL versions for rough vacuum applications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AU" sz="1800" b="1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Key benefits</a:t>
            </a:r>
          </a:p>
          <a:p>
            <a:pPr marL="46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Better oil separation</a:t>
            </a:r>
          </a:p>
          <a:p>
            <a:pPr marL="64575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Longer oil tank (twice the length) =&gt; better separation because of gravity </a:t>
            </a:r>
          </a:p>
          <a:p>
            <a:pPr marL="64575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Additional separating element =&gt; better oil recovery </a:t>
            </a:r>
          </a:p>
          <a:p>
            <a:pPr marL="64575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Heavy air flow protection for the float chamber =&gt; less risk of oil carry-over </a:t>
            </a:r>
          </a:p>
          <a:p>
            <a:pPr marL="64575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AU" sz="1800" b="1"/>
          </a:p>
          <a:p>
            <a:pPr marL="645750" lvl="2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Longer service intervals </a:t>
            </a:r>
          </a:p>
          <a:p>
            <a:pPr marL="825750" lvl="3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/>
              <a:t>Additional separating element =&gt; better oil recovery</a:t>
            </a:r>
          </a:p>
          <a:p>
            <a:pPr marL="825750" lvl="3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Increased surface =&gt; better cooling capabilities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0C368B-932C-463D-9EC9-24E5D4A764D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0B9D6C-B342-483B-A3F5-C573B8861C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87060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2013EF-C0E7-4E45-BE90-C9ECE205B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288211"/>
            <a:ext cx="11125200" cy="430887"/>
          </a:xfrm>
        </p:spPr>
        <p:txBody>
          <a:bodyPr/>
          <a:lstStyle/>
          <a:p>
            <a:r>
              <a:rPr lang="en-GB"/>
              <a:t>U5.300</a:t>
            </a:r>
            <a:endParaRPr lang="en-AU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11D2B9-72FA-4B48-A90C-F6BE3F9971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AU"/>
              <a:t>X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0C368B-932C-463D-9EC9-24E5D4A764D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0B9D6C-B342-483B-A3F5-C573B8861C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16</a:t>
            </a:fld>
            <a:endParaRPr lang="en-GB"/>
          </a:p>
        </p:txBody>
      </p:sp>
      <p:pic>
        <p:nvPicPr>
          <p:cNvPr id="9" name="Inhaltsplatzhalter 5">
            <a:extLst>
              <a:ext uri="{FF2B5EF4-FFF2-40B4-BE49-F238E27FC236}">
                <a16:creationId xmlns:a16="http://schemas.microsoft.com/office/drawing/2014/main" id="{6EEFCD47-D8A0-4073-88F8-FD829137E3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5604" y="1788645"/>
            <a:ext cx="2463656" cy="4050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299B983-C1C1-4128-B849-0F89790866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0841" y="1715865"/>
            <a:ext cx="2349585" cy="4205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1852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2013EF-C0E7-4E45-BE90-C9ECE205B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288211"/>
            <a:ext cx="11125200" cy="430887"/>
          </a:xfrm>
        </p:spPr>
        <p:txBody>
          <a:bodyPr/>
          <a:lstStyle/>
          <a:p>
            <a:r>
              <a:rPr lang="en-GB"/>
              <a:t>U5.</a:t>
            </a:r>
            <a:endParaRPr lang="en-AU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11D2B9-72FA-4B48-A90C-F6BE3F9971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AU"/>
              <a:t>X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0C368B-932C-463D-9EC9-24E5D4A764D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0B9D6C-B342-483B-A3F5-C573B8861C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17</a:t>
            </a:fld>
            <a:endParaRPr lang="en-GB"/>
          </a:p>
        </p:txBody>
      </p:sp>
      <p:pic>
        <p:nvPicPr>
          <p:cNvPr id="8" name="Inhaltsplatzhalter 5">
            <a:extLst>
              <a:ext uri="{FF2B5EF4-FFF2-40B4-BE49-F238E27FC236}">
                <a16:creationId xmlns:a16="http://schemas.microsoft.com/office/drawing/2014/main" id="{7C832D40-7992-4FC4-8FB8-7D39A5FB5C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8466" y="2431346"/>
            <a:ext cx="8675068" cy="3896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8086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2013EF-C0E7-4E45-BE90-C9ECE205B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288211"/>
            <a:ext cx="11125200" cy="430887"/>
          </a:xfrm>
        </p:spPr>
        <p:txBody>
          <a:bodyPr/>
          <a:lstStyle/>
          <a:p>
            <a:r>
              <a:rPr lang="en-GB"/>
              <a:t>U5.</a:t>
            </a:r>
            <a:endParaRPr lang="en-AU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11D2B9-72FA-4B48-A90C-F6BE3F9971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AU"/>
              <a:t>XL oil separ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0C368B-932C-463D-9EC9-24E5D4A764D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0B9D6C-B342-483B-A3F5-C573B8861C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18</a:t>
            </a:fld>
            <a:endParaRPr lang="en-GB"/>
          </a:p>
        </p:txBody>
      </p:sp>
      <p:pic>
        <p:nvPicPr>
          <p:cNvPr id="7" name="Inhaltsplatzhalter 5">
            <a:extLst>
              <a:ext uri="{FF2B5EF4-FFF2-40B4-BE49-F238E27FC236}">
                <a16:creationId xmlns:a16="http://schemas.microsoft.com/office/drawing/2014/main" id="{C6587164-2807-4A81-B4E2-6E09E93340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1329652" y="2506156"/>
            <a:ext cx="9523172" cy="3821619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C60DE158-6183-4B15-817A-3E435E66F935}"/>
              </a:ext>
            </a:extLst>
          </p:cNvPr>
          <p:cNvSpPr/>
          <p:nvPr/>
        </p:nvSpPr>
        <p:spPr>
          <a:xfrm>
            <a:off x="2666234" y="5213594"/>
            <a:ext cx="6041275" cy="473825"/>
          </a:xfrm>
          <a:prstGeom prst="rect">
            <a:avLst/>
          </a:prstGeom>
          <a:solidFill>
            <a:schemeClr val="accent4">
              <a:alpha val="6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49DEA64-9A9A-4588-87C0-2C76F85B6BD3}"/>
              </a:ext>
            </a:extLst>
          </p:cNvPr>
          <p:cNvSpPr/>
          <p:nvPr/>
        </p:nvSpPr>
        <p:spPr>
          <a:xfrm>
            <a:off x="6898105" y="5197462"/>
            <a:ext cx="3401614" cy="473825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ln w="0"/>
                <a:solidFill>
                  <a:schemeClr val="tx2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tandard U5.300</a:t>
            </a:r>
          </a:p>
        </p:txBody>
      </p:sp>
      <p:sp>
        <p:nvSpPr>
          <p:cNvPr id="11" name="Wolke 10">
            <a:extLst>
              <a:ext uri="{FF2B5EF4-FFF2-40B4-BE49-F238E27FC236}">
                <a16:creationId xmlns:a16="http://schemas.microsoft.com/office/drawing/2014/main" id="{4AF9B46E-FDC5-400B-AAFE-A14E02D0AD47}"/>
              </a:ext>
            </a:extLst>
          </p:cNvPr>
          <p:cNvSpPr/>
          <p:nvPr/>
        </p:nvSpPr>
        <p:spPr>
          <a:xfrm>
            <a:off x="6833937" y="4332884"/>
            <a:ext cx="3347951" cy="554875"/>
          </a:xfrm>
          <a:prstGeom prst="cloud">
            <a:avLst/>
          </a:prstGeom>
          <a:solidFill>
            <a:schemeClr val="accent4">
              <a:alpha val="41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2" name="Pfeil nach rechts 8">
            <a:extLst>
              <a:ext uri="{FF2B5EF4-FFF2-40B4-BE49-F238E27FC236}">
                <a16:creationId xmlns:a16="http://schemas.microsoft.com/office/drawing/2014/main" id="{7E255726-14B3-433C-9D42-2ED3ADEFAB1F}"/>
              </a:ext>
            </a:extLst>
          </p:cNvPr>
          <p:cNvSpPr/>
          <p:nvPr/>
        </p:nvSpPr>
        <p:spPr>
          <a:xfrm rot="10800000">
            <a:off x="4163120" y="4491629"/>
            <a:ext cx="902737" cy="342900"/>
          </a:xfrm>
          <a:prstGeom prst="rightArrow">
            <a:avLst/>
          </a:prstGeom>
          <a:solidFill>
            <a:srgbClr val="FFC000">
              <a:alpha val="19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3" name="Pfeil nach rechts 11">
            <a:extLst>
              <a:ext uri="{FF2B5EF4-FFF2-40B4-BE49-F238E27FC236}">
                <a16:creationId xmlns:a16="http://schemas.microsoft.com/office/drawing/2014/main" id="{03BE4410-480B-475C-9C1B-116A0E12C9EE}"/>
              </a:ext>
            </a:extLst>
          </p:cNvPr>
          <p:cNvSpPr/>
          <p:nvPr/>
        </p:nvSpPr>
        <p:spPr>
          <a:xfrm>
            <a:off x="6898105" y="3375406"/>
            <a:ext cx="902737" cy="342900"/>
          </a:xfrm>
          <a:prstGeom prst="rightArrow">
            <a:avLst/>
          </a:prstGeom>
          <a:solidFill>
            <a:srgbClr val="FFC000">
              <a:alpha val="8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4" name="Pfeil nach rechts 12">
            <a:extLst>
              <a:ext uri="{FF2B5EF4-FFF2-40B4-BE49-F238E27FC236}">
                <a16:creationId xmlns:a16="http://schemas.microsoft.com/office/drawing/2014/main" id="{68AEA3FE-EF67-417E-853F-B1A2E3245D03}"/>
              </a:ext>
            </a:extLst>
          </p:cNvPr>
          <p:cNvSpPr/>
          <p:nvPr/>
        </p:nvSpPr>
        <p:spPr>
          <a:xfrm>
            <a:off x="9699976" y="3410404"/>
            <a:ext cx="425994" cy="189686"/>
          </a:xfrm>
          <a:prstGeom prst="rightArrow">
            <a:avLst/>
          </a:prstGeom>
          <a:solidFill>
            <a:schemeClr val="tx2">
              <a:lumMod val="40000"/>
              <a:lumOff val="60000"/>
              <a:alpha val="52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5" name="Nach links gekrümmter Pfeil 6">
            <a:extLst>
              <a:ext uri="{FF2B5EF4-FFF2-40B4-BE49-F238E27FC236}">
                <a16:creationId xmlns:a16="http://schemas.microsoft.com/office/drawing/2014/main" id="{F88A3FA6-4D2B-44F1-8E67-7FBFD3716674}"/>
              </a:ext>
            </a:extLst>
          </p:cNvPr>
          <p:cNvSpPr/>
          <p:nvPr/>
        </p:nvSpPr>
        <p:spPr>
          <a:xfrm>
            <a:off x="9303955" y="4540974"/>
            <a:ext cx="211975" cy="242681"/>
          </a:xfrm>
          <a:prstGeom prst="curvedLeftArrow">
            <a:avLst/>
          </a:prstGeom>
          <a:solidFill>
            <a:srgbClr val="FFC000">
              <a:alpha val="5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2313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2013EF-C0E7-4E45-BE90-C9ECE205B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288211"/>
            <a:ext cx="11125200" cy="430887"/>
          </a:xfrm>
        </p:spPr>
        <p:txBody>
          <a:bodyPr/>
          <a:lstStyle/>
          <a:p>
            <a:r>
              <a:rPr lang="en-GB"/>
              <a:t>U5.</a:t>
            </a:r>
            <a:endParaRPr lang="en-AU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11D2B9-72FA-4B48-A90C-F6BE3F9971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AU"/>
              <a:t>XL additional oil separation stag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0C368B-932C-463D-9EC9-24E5D4A764D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0B9D6C-B342-483B-A3F5-C573B8861C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19</a:t>
            </a:fld>
            <a:endParaRPr lang="en-GB"/>
          </a:p>
        </p:txBody>
      </p:sp>
      <p:pic>
        <p:nvPicPr>
          <p:cNvPr id="16" name="Inhaltsplatzhalter 7">
            <a:extLst>
              <a:ext uri="{FF2B5EF4-FFF2-40B4-BE49-F238E27FC236}">
                <a16:creationId xmlns:a16="http://schemas.microsoft.com/office/drawing/2014/main" id="{ECDCB490-CB60-42F9-96DD-F8637AAAE7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7706" y="2373434"/>
            <a:ext cx="3099160" cy="353006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2ACB8B0A-6E82-4D5B-92F3-EB72C37F3F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6107461" y="962241"/>
            <a:ext cx="3851181" cy="6320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6068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2013EF-C0E7-4E45-BE90-C9ECE205B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288211"/>
            <a:ext cx="11125200" cy="430887"/>
          </a:xfrm>
        </p:spPr>
        <p:txBody>
          <a:bodyPr/>
          <a:lstStyle/>
          <a:p>
            <a:r>
              <a:rPr lang="en-GB"/>
              <a:t>German made</a:t>
            </a:r>
            <a:endParaRPr lang="en-AU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11D2B9-72FA-4B48-A90C-F6BE3F9971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8638" y="696358"/>
            <a:ext cx="11125200" cy="369332"/>
          </a:xfrm>
        </p:spPr>
        <p:txBody>
          <a:bodyPr/>
          <a:lstStyle/>
          <a:p>
            <a:r>
              <a:rPr lang="en-AU" sz="2400"/>
              <a:t>oil lubricated rotary vane pump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520A21-15F3-48DE-9B30-9CFEC9A1B0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Five frame sizes 70-360 m3/h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Fastest pump-down times</a:t>
            </a:r>
          </a:p>
          <a:p>
            <a:pPr>
              <a:lnSpc>
                <a:spcPct val="100000"/>
              </a:lnSpc>
            </a:pPr>
            <a:endParaRPr lang="en-AU" sz="180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Fastest reaching of ultimate pressure</a:t>
            </a:r>
          </a:p>
          <a:p>
            <a:pPr marL="70231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>
                <a:latin typeface="Verdana"/>
                <a:ea typeface="Verdana"/>
              </a:rPr>
              <a:t>Even after cold starting</a:t>
            </a:r>
          </a:p>
          <a:p>
            <a:pPr marL="359410" lvl="2" indent="0">
              <a:lnSpc>
                <a:spcPct val="100000"/>
              </a:lnSpc>
              <a:buNone/>
            </a:pPr>
            <a:endParaRPr lang="en-AU" sz="180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Low power consumption</a:t>
            </a:r>
          </a:p>
          <a:p>
            <a:pPr marL="70231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Hygienic Design</a:t>
            </a:r>
          </a:p>
          <a:p>
            <a:pPr marL="70231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Smooth surfaces for quick. easy and hygienic cleaning</a:t>
            </a:r>
          </a:p>
          <a:p>
            <a:pPr marL="70231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Compact dimensions</a:t>
            </a:r>
          </a:p>
          <a:p>
            <a:pPr marL="359410" lvl="2" indent="0">
              <a:lnSpc>
                <a:spcPct val="100000"/>
              </a:lnSpc>
              <a:buNone/>
            </a:pPr>
            <a:endParaRPr lang="en-AU" sz="180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O2-PACK</a:t>
            </a:r>
          </a:p>
          <a:p>
            <a:pPr marL="70231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Version for oxygen – same length as standard version </a:t>
            </a:r>
          </a:p>
          <a:p>
            <a:pPr marL="359410" lvl="2" indent="0">
              <a:lnSpc>
                <a:spcPct val="100000"/>
              </a:lnSpc>
              <a:buNone/>
            </a:pPr>
            <a:endParaRPr lang="en-AU" sz="180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VARIAIR</a:t>
            </a:r>
          </a:p>
          <a:p>
            <a:pPr marL="70231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Intelligent frequency inverter with additional features</a:t>
            </a:r>
          </a:p>
          <a:p>
            <a:pPr>
              <a:lnSpc>
                <a:spcPct val="100000"/>
              </a:lnSpc>
            </a:pPr>
            <a:endParaRPr lang="en-AU" sz="180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0C368B-932C-463D-9EC9-24E5D4A764D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0B9D6C-B342-483B-A3F5-C573B8861C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96272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E10697A-006F-4B26-9BD2-295947E993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E10697A-006F-4B26-9BD2-295947E993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FCB5B91-CB37-46EF-8044-5923376BCB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8638" y="704968"/>
            <a:ext cx="11125200" cy="430887"/>
          </a:xfrm>
        </p:spPr>
        <p:txBody>
          <a:bodyPr/>
          <a:lstStyle/>
          <a:p>
            <a:r>
              <a:rPr lang="en-GB"/>
              <a:t>O</a:t>
            </a:r>
            <a:r>
              <a:rPr lang="en-GB" baseline="-25000"/>
              <a:t>2</a:t>
            </a:r>
            <a:r>
              <a:rPr lang="en-GB"/>
              <a:t>-PACK</a:t>
            </a:r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1A4E8997-7B3B-468A-8912-927C37D68FD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37674" y="1436604"/>
            <a:ext cx="5648813" cy="4891171"/>
          </a:xfrm>
        </p:spPr>
        <p:txBody>
          <a:bodyPr/>
          <a:lstStyle/>
          <a:p>
            <a:pPr>
              <a:buSzPct val="75000"/>
            </a:pPr>
            <a:r>
              <a:rPr lang="en-AU" sz="1800" b="1"/>
              <a:t>Suitable for oxygen </a:t>
            </a:r>
          </a:p>
          <a:p>
            <a:pPr lvl="1">
              <a:buSzPct val="75000"/>
            </a:pPr>
            <a:r>
              <a:rPr lang="en-AU" sz="1800" err="1"/>
              <a:t>Fomblin</a:t>
            </a:r>
            <a:r>
              <a:rPr lang="en-AU" sz="1800"/>
              <a:t>-oil</a:t>
            </a:r>
          </a:p>
          <a:p>
            <a:pPr lvl="1">
              <a:buSzPct val="75000"/>
            </a:pPr>
            <a:r>
              <a:rPr lang="en-AU" sz="1800"/>
              <a:t>BAM conform materials</a:t>
            </a:r>
            <a:br>
              <a:rPr lang="en-AU" sz="1800" b="1"/>
            </a:br>
            <a:endParaRPr lang="en-AU" sz="1800" b="1"/>
          </a:p>
          <a:p>
            <a:pPr>
              <a:buSzPct val="75000"/>
            </a:pPr>
            <a:r>
              <a:rPr lang="en-AU" sz="1800" b="1"/>
              <a:t>Same length as standard U5.</a:t>
            </a:r>
          </a:p>
          <a:p>
            <a:pPr lvl="1">
              <a:buSzPct val="75000"/>
            </a:pPr>
            <a:r>
              <a:rPr lang="en-AU" sz="1800"/>
              <a:t>Even though there is an additional internal oil separator </a:t>
            </a:r>
          </a:p>
          <a:p>
            <a:pPr lvl="1">
              <a:buSzPct val="75000"/>
            </a:pPr>
            <a:r>
              <a:rPr lang="en-AU" sz="1800"/>
              <a:t>No external oil separator </a:t>
            </a:r>
            <a:br>
              <a:rPr lang="en-AU" sz="1800" b="1"/>
            </a:br>
            <a:endParaRPr lang="en-AU" sz="1800" b="1"/>
          </a:p>
          <a:p>
            <a:pPr>
              <a:buSzPct val="75000"/>
            </a:pPr>
            <a:r>
              <a:rPr lang="en-AU" sz="1800" b="1"/>
              <a:t>3-time separation </a:t>
            </a:r>
          </a:p>
          <a:p>
            <a:pPr lvl="1">
              <a:buSzPct val="75000"/>
            </a:pPr>
            <a:r>
              <a:rPr lang="en-AU" sz="1800"/>
              <a:t>Coarse separator </a:t>
            </a:r>
          </a:p>
          <a:p>
            <a:pPr lvl="1">
              <a:buSzPct val="75000"/>
            </a:pPr>
            <a:r>
              <a:rPr lang="en-AU" sz="1800"/>
              <a:t>Oil separator element </a:t>
            </a:r>
          </a:p>
          <a:p>
            <a:pPr lvl="1">
              <a:buSzPct val="75000"/>
            </a:pPr>
            <a:r>
              <a:rPr lang="en-AU" sz="1800"/>
              <a:t>Additional separator  </a:t>
            </a:r>
            <a:br>
              <a:rPr lang="en-AU" sz="1800" b="1"/>
            </a:br>
            <a:endParaRPr lang="en-AU" sz="1800" b="1"/>
          </a:p>
          <a:p>
            <a:pPr>
              <a:buSzPct val="75000"/>
            </a:pPr>
            <a:r>
              <a:rPr lang="en-AU" sz="1800" b="1"/>
              <a:t>Versions</a:t>
            </a:r>
          </a:p>
          <a:p>
            <a:pPr lvl="1">
              <a:buSzPct val="75000"/>
            </a:pPr>
            <a:r>
              <a:rPr lang="en-AU" sz="1800"/>
              <a:t>U5.71-301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4E5900A-B361-447B-8325-8552F12C270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20</a:t>
            </a:fld>
            <a:endParaRPr lang="en-GB"/>
          </a:p>
        </p:txBody>
      </p:sp>
      <p:pic>
        <p:nvPicPr>
          <p:cNvPr id="14" name="Picture 2" descr="http://bam.ptb.de/kolloquium14/bam_logo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648" y="1169043"/>
            <a:ext cx="2262516" cy="1374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31">
            <a:extLst>
              <a:ext uri="{FF2B5EF4-FFF2-40B4-BE49-F238E27FC236}">
                <a16:creationId xmlns:a16="http://schemas.microsoft.com/office/drawing/2014/main" id="{8FCB5B91-CB37-46EF-8044-5923376BCB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7675" y="298961"/>
            <a:ext cx="11125200" cy="430887"/>
          </a:xfrm>
        </p:spPr>
        <p:txBody>
          <a:bodyPr/>
          <a:lstStyle/>
          <a:p>
            <a:r>
              <a:rPr lang="en-GB">
                <a:solidFill>
                  <a:schemeClr val="tx2"/>
                </a:solidFill>
              </a:rPr>
              <a:t>U5.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11" name="Inhaltsplatzhalter 7">
            <a:extLst>
              <a:ext uri="{FF2B5EF4-FFF2-40B4-BE49-F238E27FC236}">
                <a16:creationId xmlns:a16="http://schemas.microsoft.com/office/drawing/2014/main" id="{8FC18088-59FF-4F2B-95E6-8BF66A330B6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12" t="14526" r="15479" b="16546"/>
          <a:stretch/>
        </p:blipFill>
        <p:spPr>
          <a:xfrm rot="5400000">
            <a:off x="7865082" y="3390714"/>
            <a:ext cx="2876164" cy="1720322"/>
          </a:xfrm>
          <a:prstGeom prst="rect">
            <a:avLst/>
          </a:prstGeom>
          <a:ln w="25400">
            <a:miter lim="400000"/>
          </a:ln>
        </p:spPr>
      </p:pic>
      <p:pic>
        <p:nvPicPr>
          <p:cNvPr id="12" name="Inhaltsplatzhalter 5">
            <a:extLst>
              <a:ext uri="{FF2B5EF4-FFF2-40B4-BE49-F238E27FC236}">
                <a16:creationId xmlns:a16="http://schemas.microsoft.com/office/drawing/2014/main" id="{19C8716F-5DFE-4C3D-A0A5-015E5CC1813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869173" y="3332092"/>
            <a:ext cx="3075644" cy="1837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7076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694651"/>
            <a:ext cx="7647241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63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21</a:t>
            </a:fld>
            <a:endParaRPr lang="en-GB"/>
          </a:p>
        </p:txBody>
      </p:sp>
      <p:graphicFrame>
        <p:nvGraphicFramePr>
          <p:cNvPr id="10" name="Table 151"/>
          <p:cNvGraphicFramePr/>
          <p:nvPr>
            <p:extLst>
              <p:ext uri="{D42A27DB-BD31-4B8C-83A1-F6EECF244321}">
                <p14:modId xmlns:p14="http://schemas.microsoft.com/office/powerpoint/2010/main" val="532668070"/>
              </p:ext>
            </p:extLst>
          </p:nvPr>
        </p:nvGraphicFramePr>
        <p:xfrm>
          <a:off x="528637" y="1376363"/>
          <a:ext cx="11125201" cy="4951410"/>
        </p:xfrm>
        <a:graphic>
          <a:graphicData uri="http://schemas.openxmlformats.org/drawingml/2006/table">
            <a:tbl>
              <a:tblPr/>
              <a:tblGrid>
                <a:gridCol w="60376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93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942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0814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en-GB" sz="1600" b="1" noProof="0">
                          <a:solidFill>
                            <a:schemeClr val="tx2"/>
                          </a:solidFill>
                        </a:rPr>
                        <a:t>Construction size 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 b="1">
                          <a:solidFill>
                            <a:schemeClr val="tx2"/>
                          </a:solidFill>
                        </a:rPr>
                        <a:t>U5.</a:t>
                      </a:r>
                      <a:r>
                        <a:rPr lang="de-DE" sz="1600" b="1">
                          <a:solidFill>
                            <a:schemeClr val="tx2"/>
                          </a:solidFill>
                        </a:rPr>
                        <a:t>71</a:t>
                      </a:r>
                      <a:endParaRPr sz="1600" b="1">
                        <a:solidFill>
                          <a:schemeClr val="tx2"/>
                        </a:solidFill>
                      </a:endParaRP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1">
                          <a:solidFill>
                            <a:schemeClr val="tx2"/>
                          </a:solidFill>
                        </a:rPr>
                        <a:t>R 5 RA 63 F</a:t>
                      </a:r>
                      <a:endParaRPr sz="1600" b="1">
                        <a:solidFill>
                          <a:schemeClr val="tx2"/>
                        </a:solidFill>
                      </a:endParaRP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50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en-GB" sz="1600" noProof="0">
                          <a:solidFill>
                            <a:schemeClr val="tx2"/>
                          </a:solidFill>
                        </a:rPr>
                        <a:t>Length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696 </a:t>
                      </a: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(IE3)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627 (IE2)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Width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>
                          <a:solidFill>
                            <a:schemeClr val="accent2"/>
                          </a:solidFill>
                        </a:rPr>
                        <a:t>380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406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Height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>
                          <a:solidFill>
                            <a:schemeClr val="accent2"/>
                          </a:solidFill>
                        </a:rPr>
                        <a:t>289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29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650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M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ass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kg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>
                          <a:solidFill>
                            <a:schemeClr val="tx2"/>
                          </a:solidFill>
                        </a:rPr>
                        <a:t>67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5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0814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en-GB" sz="1600" noProof="0">
                          <a:solidFill>
                            <a:schemeClr val="tx2"/>
                          </a:solidFill>
                        </a:rPr>
                        <a:t>Nominal pumping speed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³/h 50/60 Hz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kern="120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  <a:r>
                        <a:rPr sz="1600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de-DE" sz="1600" kern="120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84</a:t>
                      </a:r>
                      <a:endParaRPr sz="1600" kern="120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63/76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241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Motor</a:t>
                      </a:r>
                      <a:r>
                        <a:rPr lang="de-DE" sz="1600" baseline="0">
                          <a:solidFill>
                            <a:schemeClr val="tx2"/>
                          </a:solidFill>
                        </a:rPr>
                        <a:t> power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kW – 50/60 Hz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1.5</a:t>
                      </a:r>
                      <a:r>
                        <a:rPr lang="de-DE" sz="1600">
                          <a:solidFill>
                            <a:schemeClr val="accent1"/>
                          </a:solidFill>
                        </a:rPr>
                        <a:t>/</a:t>
                      </a: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1.8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1.5/1.8</a:t>
                      </a: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2.2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/</a:t>
                      </a: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2</a:t>
                      </a:r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.</a:t>
                      </a: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7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Noise</a:t>
                      </a:r>
                      <a:r>
                        <a:rPr lang="de-DE" sz="1600" baseline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GB" sz="1600" baseline="0" noProof="0">
                          <a:solidFill>
                            <a:schemeClr val="tx2"/>
                          </a:solidFill>
                        </a:rPr>
                        <a:t>level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dB(A)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64/67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64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/</a:t>
                      </a: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67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8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7" y="263764"/>
            <a:ext cx="7647241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7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</p:spTree>
    <p:extLst>
      <p:ext uri="{BB962C8B-B14F-4D97-AF65-F5344CB8AC3E}">
        <p14:creationId xmlns:p14="http://schemas.microsoft.com/office/powerpoint/2010/main" val="15766123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694651"/>
            <a:ext cx="7647241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100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22</a:t>
            </a:fld>
            <a:endParaRPr lang="en-GB"/>
          </a:p>
        </p:txBody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63764"/>
            <a:ext cx="7647241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10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graphicFrame>
        <p:nvGraphicFramePr>
          <p:cNvPr id="10" name="Table 151">
            <a:extLst>
              <a:ext uri="{FF2B5EF4-FFF2-40B4-BE49-F238E27FC236}">
                <a16:creationId xmlns:a16="http://schemas.microsoft.com/office/drawing/2014/main" id="{08A38EA3-7BE6-4A5D-93EB-515C2BE755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1055864"/>
              </p:ext>
            </p:extLst>
          </p:nvPr>
        </p:nvGraphicFramePr>
        <p:xfrm>
          <a:off x="528637" y="1376363"/>
          <a:ext cx="11125201" cy="4951410"/>
        </p:xfrm>
        <a:graphic>
          <a:graphicData uri="http://schemas.openxmlformats.org/drawingml/2006/table">
            <a:tbl>
              <a:tblPr/>
              <a:tblGrid>
                <a:gridCol w="60376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93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942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0814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en-GB" sz="1600" b="1" noProof="0">
                          <a:solidFill>
                            <a:schemeClr val="tx2"/>
                          </a:solidFill>
                        </a:rPr>
                        <a:t>Construction size 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 b="1">
                          <a:solidFill>
                            <a:schemeClr val="tx2"/>
                          </a:solidFill>
                        </a:rPr>
                        <a:t>U5.10</a:t>
                      </a:r>
                      <a:r>
                        <a:rPr lang="de-DE" sz="1600" b="1">
                          <a:solidFill>
                            <a:schemeClr val="tx2"/>
                          </a:solidFill>
                        </a:rPr>
                        <a:t>1</a:t>
                      </a:r>
                      <a:endParaRPr sz="1600" b="1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1">
                          <a:solidFill>
                            <a:schemeClr val="tx2"/>
                          </a:solidFill>
                        </a:rPr>
                        <a:t>R 5 RA 100 F</a:t>
                      </a:r>
                      <a:endParaRPr sz="1600" b="1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50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en-GB" sz="1600" noProof="0">
                          <a:solidFill>
                            <a:schemeClr val="tx2"/>
                          </a:solidFill>
                        </a:rPr>
                        <a:t>Length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>
                          <a:solidFill>
                            <a:schemeClr val="tx2"/>
                          </a:solidFill>
                        </a:rPr>
                        <a:t>736 </a:t>
                      </a:r>
                      <a:r>
                        <a:rPr sz="1600">
                          <a:solidFill>
                            <a:schemeClr val="accent2"/>
                          </a:solidFill>
                        </a:rPr>
                        <a:t>(IE 3)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>
                          <a:solidFill>
                            <a:schemeClr val="tx2"/>
                          </a:solidFill>
                        </a:rPr>
                        <a:t>7</a:t>
                      </a: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01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(IE 2)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Width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>
                          <a:solidFill>
                            <a:schemeClr val="accent2"/>
                          </a:solidFill>
                        </a:rPr>
                        <a:t>38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406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Height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>
                          <a:solidFill>
                            <a:schemeClr val="accent2"/>
                          </a:solidFill>
                        </a:rPr>
                        <a:t>289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29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650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M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ass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kg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>
                          <a:solidFill>
                            <a:schemeClr val="accent2"/>
                          </a:solidFill>
                        </a:rPr>
                        <a:t>67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73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0814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en-GB" sz="1600" noProof="0">
                          <a:solidFill>
                            <a:schemeClr val="tx2"/>
                          </a:solidFill>
                        </a:rPr>
                        <a:t>Nominal pumping speed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³/h 50/60 Hz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>
                          <a:solidFill>
                            <a:schemeClr val="tx2"/>
                          </a:solidFill>
                        </a:rPr>
                        <a:t>100/12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100/12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241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Motor</a:t>
                      </a:r>
                      <a:r>
                        <a:rPr lang="de-DE" sz="1600" baseline="0">
                          <a:solidFill>
                            <a:schemeClr val="tx2"/>
                          </a:solidFill>
                        </a:rPr>
                        <a:t> power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kW – 50/60 Hz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>
                          <a:solidFill>
                            <a:schemeClr val="accent2"/>
                          </a:solidFill>
                        </a:rPr>
                        <a:t>2</a:t>
                      </a:r>
                      <a:r>
                        <a:rPr lang="en-US" sz="1600">
                          <a:solidFill>
                            <a:schemeClr val="accent2"/>
                          </a:solidFill>
                        </a:rPr>
                        <a:t>.</a:t>
                      </a:r>
                      <a:r>
                        <a:rPr sz="1600">
                          <a:solidFill>
                            <a:schemeClr val="accent2"/>
                          </a:solidFill>
                        </a:rPr>
                        <a:t>2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/</a:t>
                      </a:r>
                      <a:r>
                        <a:rPr sz="1600">
                          <a:solidFill>
                            <a:schemeClr val="accent2"/>
                          </a:solidFill>
                        </a:rPr>
                        <a:t>2</a:t>
                      </a:r>
                      <a:r>
                        <a:rPr lang="en-US" sz="1600">
                          <a:solidFill>
                            <a:schemeClr val="accent2"/>
                          </a:solidFill>
                        </a:rPr>
                        <a:t>.</a:t>
                      </a:r>
                      <a:r>
                        <a:rPr sz="1600">
                          <a:solidFill>
                            <a:schemeClr val="accent2"/>
                          </a:solidFill>
                        </a:rPr>
                        <a:t>6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2.2/2.7</a:t>
                      </a: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>
                          <a:solidFill>
                            <a:schemeClr val="tx2"/>
                          </a:solidFill>
                        </a:rPr>
                        <a:t>2</a:t>
                      </a:r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.</a:t>
                      </a: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7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/3</a:t>
                      </a:r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.</a:t>
                      </a: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4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Noise</a:t>
                      </a:r>
                      <a:r>
                        <a:rPr lang="de-DE" sz="1600" baseline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GB" sz="1600" baseline="0" noProof="0">
                          <a:solidFill>
                            <a:schemeClr val="tx2"/>
                          </a:solidFill>
                        </a:rPr>
                        <a:t>level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dB(A)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>
                          <a:solidFill>
                            <a:schemeClr val="tx2"/>
                          </a:solidFill>
                        </a:rPr>
                        <a:t>65/68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65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/</a:t>
                      </a: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68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3785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694651"/>
            <a:ext cx="7647241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160 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23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7" y="263764"/>
            <a:ext cx="7647241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166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graphicFrame>
        <p:nvGraphicFramePr>
          <p:cNvPr id="10" name="Table 151">
            <a:extLst>
              <a:ext uri="{FF2B5EF4-FFF2-40B4-BE49-F238E27FC236}">
                <a16:creationId xmlns:a16="http://schemas.microsoft.com/office/drawing/2014/main" id="{2526DBE4-74C1-4529-983C-C9278A5C70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2042404"/>
              </p:ext>
            </p:extLst>
          </p:nvPr>
        </p:nvGraphicFramePr>
        <p:xfrm>
          <a:off x="528637" y="1376363"/>
          <a:ext cx="11125201" cy="4951410"/>
        </p:xfrm>
        <a:graphic>
          <a:graphicData uri="http://schemas.openxmlformats.org/drawingml/2006/table">
            <a:tbl>
              <a:tblPr/>
              <a:tblGrid>
                <a:gridCol w="60376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93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942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0814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en-GB" sz="1600" b="1" noProof="0">
                          <a:solidFill>
                            <a:schemeClr val="tx2"/>
                          </a:solidFill>
                        </a:rPr>
                        <a:t>Construction size 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 b="1">
                          <a:solidFill>
                            <a:schemeClr val="tx2"/>
                          </a:solidFill>
                        </a:rPr>
                        <a:t>U5.1</a:t>
                      </a:r>
                      <a:r>
                        <a:rPr lang="de-DE" sz="1600" b="1">
                          <a:solidFill>
                            <a:schemeClr val="tx2"/>
                          </a:solidFill>
                        </a:rPr>
                        <a:t>66</a:t>
                      </a:r>
                      <a:endParaRPr sz="1600" b="1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1">
                          <a:solidFill>
                            <a:schemeClr val="tx2"/>
                          </a:solidFill>
                        </a:rPr>
                        <a:t>R 5 RA 160 D</a:t>
                      </a:r>
                      <a:endParaRPr sz="1600" b="1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50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en-GB" sz="1600" noProof="0">
                          <a:solidFill>
                            <a:schemeClr val="tx2"/>
                          </a:solidFill>
                        </a:rPr>
                        <a:t>Length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810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92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Width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510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36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Height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360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41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650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M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ass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kg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0">
                          <a:solidFill>
                            <a:schemeClr val="accent2"/>
                          </a:solidFill>
                        </a:rPr>
                        <a:t>99</a:t>
                      </a:r>
                      <a:endParaRPr sz="1600" b="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14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0814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en-GB" sz="1600" noProof="0">
                          <a:solidFill>
                            <a:schemeClr val="tx2"/>
                          </a:solidFill>
                        </a:rPr>
                        <a:t>Nominal pumping speed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³/h 50/60 Hz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>
                          <a:solidFill>
                            <a:schemeClr val="accent2"/>
                          </a:solidFill>
                        </a:rPr>
                        <a:t>1</a:t>
                      </a: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65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/</a:t>
                      </a: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198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160/19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241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Motor</a:t>
                      </a:r>
                      <a:r>
                        <a:rPr lang="de-DE" sz="1600" baseline="0">
                          <a:solidFill>
                            <a:schemeClr val="tx2"/>
                          </a:solidFill>
                        </a:rPr>
                        <a:t> power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kW – 50/60 Hz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3</a:t>
                      </a:r>
                      <a:r>
                        <a:rPr lang="en-US" sz="1600">
                          <a:solidFill>
                            <a:schemeClr val="accent2"/>
                          </a:solidFill>
                        </a:rPr>
                        <a:t>.</a:t>
                      </a: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0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/</a:t>
                      </a: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3</a:t>
                      </a:r>
                      <a:r>
                        <a:rPr lang="en-US" sz="1600">
                          <a:solidFill>
                            <a:schemeClr val="accent2"/>
                          </a:solidFill>
                        </a:rPr>
                        <a:t>.</a:t>
                      </a:r>
                      <a:r>
                        <a:rPr sz="1600">
                          <a:solidFill>
                            <a:schemeClr val="accent2"/>
                          </a:solidFill>
                        </a:rPr>
                        <a:t>6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4.0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/</a:t>
                      </a: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</a:t>
                      </a:r>
                      <a:r>
                        <a:rPr lang="en-US" sz="1600">
                          <a:solidFill>
                            <a:schemeClr val="tx2"/>
                          </a:solidFill>
                        </a:rPr>
                        <a:t>.</a:t>
                      </a: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 5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Noise</a:t>
                      </a:r>
                      <a:r>
                        <a:rPr lang="de-DE" sz="1600" baseline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GB" sz="1600" baseline="0" noProof="0">
                          <a:solidFill>
                            <a:schemeClr val="tx2"/>
                          </a:solidFill>
                        </a:rPr>
                        <a:t>level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dB(A)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0">
                          <a:solidFill>
                            <a:schemeClr val="tx2"/>
                          </a:solidFill>
                        </a:rPr>
                        <a:t>70/72</a:t>
                      </a:r>
                      <a:endParaRPr sz="1600" b="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70/72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87273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694651"/>
            <a:ext cx="7647241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202 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24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63764"/>
            <a:ext cx="7647241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20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graphicFrame>
        <p:nvGraphicFramePr>
          <p:cNvPr id="10" name="Table 151">
            <a:extLst>
              <a:ext uri="{FF2B5EF4-FFF2-40B4-BE49-F238E27FC236}">
                <a16:creationId xmlns:a16="http://schemas.microsoft.com/office/drawing/2014/main" id="{A8DF4D84-3CDC-48CB-812B-AAF4CE3898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4568536"/>
              </p:ext>
            </p:extLst>
          </p:nvPr>
        </p:nvGraphicFramePr>
        <p:xfrm>
          <a:off x="528637" y="1376363"/>
          <a:ext cx="11125201" cy="4951410"/>
        </p:xfrm>
        <a:graphic>
          <a:graphicData uri="http://schemas.openxmlformats.org/drawingml/2006/table">
            <a:tbl>
              <a:tblPr/>
              <a:tblGrid>
                <a:gridCol w="60376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932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942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0814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en-GB" sz="1600" b="1" noProof="0">
                          <a:solidFill>
                            <a:schemeClr val="tx2"/>
                          </a:solidFill>
                        </a:rPr>
                        <a:t>Construction size 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 b="1">
                          <a:solidFill>
                            <a:schemeClr val="tx2"/>
                          </a:solidFill>
                        </a:rPr>
                        <a:t>U5.</a:t>
                      </a:r>
                      <a:r>
                        <a:rPr lang="de-DE" sz="1600" b="1">
                          <a:solidFill>
                            <a:schemeClr val="tx2"/>
                          </a:solidFill>
                        </a:rPr>
                        <a:t>201</a:t>
                      </a:r>
                      <a:endParaRPr sz="1600" b="1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1">
                          <a:solidFill>
                            <a:schemeClr val="tx2"/>
                          </a:solidFill>
                        </a:rPr>
                        <a:t>R 5 RA 202 D</a:t>
                      </a:r>
                      <a:endParaRPr sz="1600" b="1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50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en-GB" sz="1600" noProof="0">
                          <a:solidFill>
                            <a:schemeClr val="tx2"/>
                          </a:solidFill>
                        </a:rPr>
                        <a:t>Length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789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92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Width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510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36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Height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360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41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650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M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ass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kg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0">
                          <a:solidFill>
                            <a:schemeClr val="accent2"/>
                          </a:solidFill>
                        </a:rPr>
                        <a:t>102</a:t>
                      </a:r>
                      <a:endParaRPr sz="1600" b="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14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0814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en-GB" sz="1600" noProof="0">
                          <a:solidFill>
                            <a:schemeClr val="tx2"/>
                          </a:solidFill>
                        </a:rPr>
                        <a:t>Nominal pumping speed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³/h 50/60 Hz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200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/</a:t>
                      </a: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24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200/24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241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Motor</a:t>
                      </a:r>
                      <a:r>
                        <a:rPr lang="de-DE" sz="1600" baseline="0">
                          <a:solidFill>
                            <a:schemeClr val="tx2"/>
                          </a:solidFill>
                        </a:rPr>
                        <a:t> power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kW – 50/60 Hz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4.0/</a:t>
                      </a: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4.8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4.0/6.6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Noise</a:t>
                      </a:r>
                      <a:r>
                        <a:rPr lang="de-DE" sz="1600" baseline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GB" sz="1600" baseline="0" noProof="0">
                          <a:solidFill>
                            <a:schemeClr val="tx2"/>
                          </a:solidFill>
                        </a:rPr>
                        <a:t>level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dB(A)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0">
                          <a:solidFill>
                            <a:schemeClr val="tx2"/>
                          </a:solidFill>
                        </a:rPr>
                        <a:t>72/74</a:t>
                      </a:r>
                      <a:endParaRPr sz="1600" b="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0">
                          <a:solidFill>
                            <a:schemeClr val="tx2"/>
                          </a:solidFill>
                        </a:rPr>
                        <a:t>72/74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22951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687976"/>
            <a:ext cx="9681683" cy="437561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302 D vs. R5 RD 36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25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7" y="250415"/>
            <a:ext cx="9681683" cy="43756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30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graphicFrame>
        <p:nvGraphicFramePr>
          <p:cNvPr id="10" name="Table 151">
            <a:extLst>
              <a:ext uri="{FF2B5EF4-FFF2-40B4-BE49-F238E27FC236}">
                <a16:creationId xmlns:a16="http://schemas.microsoft.com/office/drawing/2014/main" id="{5BBAEBC5-2FB0-4C4E-8FD5-3C663D6EA3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4244832"/>
              </p:ext>
            </p:extLst>
          </p:nvPr>
        </p:nvGraphicFramePr>
        <p:xfrm>
          <a:off x="528637" y="1376363"/>
          <a:ext cx="11125201" cy="4951410"/>
        </p:xfrm>
        <a:graphic>
          <a:graphicData uri="http://schemas.openxmlformats.org/drawingml/2006/table">
            <a:tbl>
              <a:tblPr/>
              <a:tblGrid>
                <a:gridCol w="49319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183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74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7465">
                  <a:extLst>
                    <a:ext uri="{9D8B030D-6E8A-4147-A177-3AD203B41FA5}">
                      <a16:colId xmlns:a16="http://schemas.microsoft.com/office/drawing/2014/main" val="1213500926"/>
                    </a:ext>
                  </a:extLst>
                </a:gridCol>
              </a:tblGrid>
              <a:tr h="80814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en-GB" sz="1600" b="1" noProof="0">
                          <a:solidFill>
                            <a:schemeClr val="tx2"/>
                          </a:solidFill>
                        </a:rPr>
                        <a:t>Construction size 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 b="1">
                          <a:solidFill>
                            <a:schemeClr val="tx2"/>
                          </a:solidFill>
                        </a:rPr>
                        <a:t>U5.</a:t>
                      </a:r>
                      <a:r>
                        <a:rPr lang="de-DE" sz="1600" b="1">
                          <a:solidFill>
                            <a:schemeClr val="tx2"/>
                          </a:solidFill>
                        </a:rPr>
                        <a:t>301</a:t>
                      </a:r>
                      <a:endParaRPr sz="1600" b="1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1">
                          <a:solidFill>
                            <a:schemeClr val="tx2"/>
                          </a:solidFill>
                        </a:rPr>
                        <a:t>R 5 RA 302 </a:t>
                      </a:r>
                      <a:endParaRPr sz="1600" b="1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en-GB" sz="1600" b="1" kern="1200" noProof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5 RD 360</a:t>
                      </a:r>
                      <a:endParaRPr sz="1600" b="1" kern="120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50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en-GB" sz="1600" noProof="0">
                          <a:solidFill>
                            <a:schemeClr val="tx2"/>
                          </a:solidFill>
                        </a:rPr>
                        <a:t>Length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946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1011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99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Width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549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81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3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Height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365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41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41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650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M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ass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kg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0">
                          <a:solidFill>
                            <a:schemeClr val="accent2"/>
                          </a:solidFill>
                        </a:rPr>
                        <a:t>143</a:t>
                      </a:r>
                      <a:endParaRPr sz="1600" b="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19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19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0814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en-GB" sz="1600" noProof="0">
                          <a:solidFill>
                            <a:schemeClr val="tx2"/>
                          </a:solidFill>
                        </a:rPr>
                        <a:t>Nominal pumping speed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³/h 50/60 Hz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300/36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300/36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300/36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241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Motor</a:t>
                      </a:r>
                      <a:r>
                        <a:rPr lang="de-DE" sz="1600" baseline="0">
                          <a:solidFill>
                            <a:schemeClr val="tx2"/>
                          </a:solidFill>
                        </a:rPr>
                        <a:t> power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kW – 50/60 Hz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.5/6.6</a:t>
                      </a: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7.5/9.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.5/6.6</a:t>
                      </a: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7.5/9.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.5/6.6</a:t>
                      </a: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7.5/9.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Noise</a:t>
                      </a:r>
                      <a:r>
                        <a:rPr lang="de-DE" sz="1600" baseline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GB" sz="1600" baseline="0" noProof="0">
                          <a:solidFill>
                            <a:schemeClr val="tx2"/>
                          </a:solidFill>
                        </a:rPr>
                        <a:t>level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dB(A)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0">
                          <a:solidFill>
                            <a:schemeClr val="tx2"/>
                          </a:solidFill>
                        </a:rPr>
                        <a:t>73/76</a:t>
                      </a:r>
                      <a:endParaRPr sz="1600" b="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0">
                          <a:solidFill>
                            <a:schemeClr val="tx2"/>
                          </a:solidFill>
                        </a:rPr>
                        <a:t>74/76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0">
                          <a:solidFill>
                            <a:schemeClr val="tx2"/>
                          </a:solidFill>
                        </a:rPr>
                        <a:t>70/72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39884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694651"/>
            <a:ext cx="9681683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U4.300 vs. U4.25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26</a:t>
            </a:fld>
            <a:endParaRPr lang="en-GB"/>
          </a:p>
        </p:txBody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63764"/>
            <a:ext cx="9681683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301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graphicFrame>
        <p:nvGraphicFramePr>
          <p:cNvPr id="11" name="Table 151">
            <a:extLst>
              <a:ext uri="{FF2B5EF4-FFF2-40B4-BE49-F238E27FC236}">
                <a16:creationId xmlns:a16="http://schemas.microsoft.com/office/drawing/2014/main" id="{36D360B8-E1BA-4CD6-9561-326F3CE96F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207068"/>
              </p:ext>
            </p:extLst>
          </p:nvPr>
        </p:nvGraphicFramePr>
        <p:xfrm>
          <a:off x="528637" y="1376363"/>
          <a:ext cx="11125201" cy="4951410"/>
        </p:xfrm>
        <a:graphic>
          <a:graphicData uri="http://schemas.openxmlformats.org/drawingml/2006/table">
            <a:tbl>
              <a:tblPr/>
              <a:tblGrid>
                <a:gridCol w="49319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183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74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7465">
                  <a:extLst>
                    <a:ext uri="{9D8B030D-6E8A-4147-A177-3AD203B41FA5}">
                      <a16:colId xmlns:a16="http://schemas.microsoft.com/office/drawing/2014/main" val="1213500926"/>
                    </a:ext>
                  </a:extLst>
                </a:gridCol>
              </a:tblGrid>
              <a:tr h="80814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en-GB" sz="1600" b="1" noProof="0">
                          <a:solidFill>
                            <a:schemeClr val="tx2"/>
                          </a:solidFill>
                        </a:rPr>
                        <a:t>Construction size 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sz="1600" b="1">
                          <a:solidFill>
                            <a:schemeClr val="tx2"/>
                          </a:solidFill>
                        </a:rPr>
                        <a:t>U5.</a:t>
                      </a:r>
                      <a:r>
                        <a:rPr lang="de-DE" sz="1600" b="1">
                          <a:solidFill>
                            <a:schemeClr val="tx2"/>
                          </a:solidFill>
                        </a:rPr>
                        <a:t>301</a:t>
                      </a:r>
                      <a:endParaRPr sz="1600" b="1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1">
                          <a:solidFill>
                            <a:schemeClr val="tx2"/>
                          </a:solidFill>
                        </a:rPr>
                        <a:t>U4.300</a:t>
                      </a:r>
                      <a:endParaRPr sz="1600" b="1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en-GB" sz="1600" b="1" kern="1200" noProof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U4.250</a:t>
                      </a:r>
                      <a:endParaRPr sz="1600" b="1" kern="120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50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en-GB" sz="1600" noProof="0">
                          <a:solidFill>
                            <a:schemeClr val="tx2"/>
                          </a:solidFill>
                        </a:rPr>
                        <a:t>Length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946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1075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1097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Width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49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33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31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Height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m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accent2"/>
                          </a:solidFill>
                        </a:rPr>
                        <a:t>365</a:t>
                      </a:r>
                      <a:endParaRPr sz="16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418.5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385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650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M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ass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kg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0">
                          <a:solidFill>
                            <a:schemeClr val="accent2"/>
                          </a:solidFill>
                        </a:rPr>
                        <a:t>&gt;143</a:t>
                      </a:r>
                      <a:endParaRPr sz="1600" b="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&gt;145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&gt;145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0814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en-GB" sz="1600" noProof="0">
                          <a:solidFill>
                            <a:schemeClr val="tx2"/>
                          </a:solidFill>
                        </a:rPr>
                        <a:t>Nominal pumping speed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m³/h 50/60 Hz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300/36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300/36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244/276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92415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Motor</a:t>
                      </a:r>
                      <a:r>
                        <a:rPr lang="de-DE" sz="1600" baseline="0">
                          <a:solidFill>
                            <a:schemeClr val="tx2"/>
                          </a:solidFill>
                        </a:rPr>
                        <a:t> power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kW – 50/60 Hz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.5/6.6</a:t>
                      </a: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7.5/9.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.5/6.6</a:t>
                      </a: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7.5/9.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5.5/6.6</a:t>
                      </a: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7.5/9.0</a:t>
                      </a:r>
                      <a:endParaRPr sz="16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59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600">
                          <a:solidFill>
                            <a:schemeClr val="tx2"/>
                          </a:solidFill>
                        </a:rPr>
                        <a:t>Noise</a:t>
                      </a:r>
                      <a:r>
                        <a:rPr lang="de-DE" sz="1600" baseline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GB" sz="1600" baseline="0" noProof="0">
                          <a:solidFill>
                            <a:schemeClr val="tx2"/>
                          </a:solidFill>
                        </a:rPr>
                        <a:t>level</a:t>
                      </a:r>
                      <a:r>
                        <a:rPr sz="160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sz="1600" b="0">
                          <a:solidFill>
                            <a:schemeClr val="tx2"/>
                          </a:solidFill>
                        </a:rPr>
                        <a:t>[dB(A)]</a:t>
                      </a:r>
                    </a:p>
                  </a:txBody>
                  <a:tcPr marL="36000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0">
                          <a:solidFill>
                            <a:schemeClr val="tx2"/>
                          </a:solidFill>
                        </a:rPr>
                        <a:t>73/76</a:t>
                      </a:r>
                      <a:endParaRPr sz="1600" b="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0">
                          <a:solidFill>
                            <a:schemeClr val="tx2"/>
                          </a:solidFill>
                        </a:rPr>
                        <a:t>74/76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600" b="0">
                          <a:solidFill>
                            <a:schemeClr val="tx2"/>
                          </a:solidFill>
                        </a:rPr>
                        <a:t>73/76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14734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42" y="694651"/>
            <a:ext cx="9681683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0063 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27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57624"/>
            <a:ext cx="9681683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7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2D29741-5EBA-4666-82CE-287CCB967B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400" y="1400338"/>
            <a:ext cx="8067850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0534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42" y="694651"/>
            <a:ext cx="9681683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0063 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28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57624"/>
            <a:ext cx="9681683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7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DD98283-ADB7-4588-A0D3-71CAD98BE0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5658" y="1400264"/>
            <a:ext cx="8105301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8177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42" y="694651"/>
            <a:ext cx="9681683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0100 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29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57624"/>
            <a:ext cx="9681683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10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0D7A6A4-4953-422B-B019-F4968CB3FB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400" y="1391637"/>
            <a:ext cx="8073035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6233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2013EF-C0E7-4E45-BE90-C9ECE205B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288211"/>
            <a:ext cx="11125200" cy="430887"/>
          </a:xfrm>
        </p:spPr>
        <p:txBody>
          <a:bodyPr/>
          <a:lstStyle/>
          <a:p>
            <a:r>
              <a:rPr lang="en-GB"/>
              <a:t>U5.</a:t>
            </a:r>
            <a:endParaRPr lang="en-AU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A11D2B9-72FA-4B48-A90C-F6BE3F9971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AU"/>
              <a:t>for a variety of application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520A21-15F3-48DE-9B30-9CFEC9A1B0B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Food packaging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Food processing</a:t>
            </a:r>
          </a:p>
          <a:p>
            <a:pPr marL="70290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Tumblr</a:t>
            </a:r>
          </a:p>
          <a:p>
            <a:pPr marL="70290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Dry freezing</a:t>
            </a:r>
          </a:p>
          <a:p>
            <a:pPr marL="70290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/>
              <a:t>Vacuum mixer/ Sausage machinery</a:t>
            </a:r>
            <a:br>
              <a:rPr lang="en-AU" sz="1800" b="1"/>
            </a:br>
            <a:endParaRPr lang="en-AU" sz="1800" b="1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Degassing of materials (electronics, food …)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Medical central system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Thermoforming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Rubber molding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Drying of materials or part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CNC router table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(Reflow) Soldering 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Lamination of material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AU" sz="1800" b="1"/>
              <a:t>And many more</a:t>
            </a:r>
          </a:p>
          <a:p>
            <a:pPr>
              <a:lnSpc>
                <a:spcPct val="100000"/>
              </a:lnSpc>
            </a:pPr>
            <a:endParaRPr lang="en-AU" sz="180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0C368B-932C-463D-9EC9-24E5D4A764D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0B9D6C-B342-483B-A3F5-C573B8861C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8050AE3-0D73-4142-BECE-DF5058C9FB53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727636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42" y="694651"/>
            <a:ext cx="9681683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0100 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30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57624"/>
            <a:ext cx="9681683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10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DF97989-9B42-4684-884E-B6FAD4191E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400" y="1386875"/>
            <a:ext cx="8114271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7700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42" y="694651"/>
            <a:ext cx="9681683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0160 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31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57624"/>
            <a:ext cx="9681683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166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E4DA72B-7AD9-487A-982A-76B38F7EAD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400" y="1388183"/>
            <a:ext cx="8070420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7579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42" y="694651"/>
            <a:ext cx="9681683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0160 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32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57624"/>
            <a:ext cx="9681683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166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DB2A604-E58B-471C-87E7-4AE10AFC5A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400" y="1404129"/>
            <a:ext cx="8082046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93003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42" y="694651"/>
            <a:ext cx="9681683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0202 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33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57624"/>
            <a:ext cx="9681683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20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19F4453-6B4D-4B22-8D9E-9011C41599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400" y="1407095"/>
            <a:ext cx="8025478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01898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42" y="694651"/>
            <a:ext cx="9681683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0202 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34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57624"/>
            <a:ext cx="9681683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20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6BCEBB7-1366-4C4D-BA3C-F7150CC4E9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400" y="1405673"/>
            <a:ext cx="8017891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69045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42" y="694651"/>
            <a:ext cx="9681683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0302 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35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57624"/>
            <a:ext cx="9681683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30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29F75BB-C66D-47FE-8D25-3E4EFC3605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400" y="1394236"/>
            <a:ext cx="8035278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3003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42" y="694651"/>
            <a:ext cx="9681683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R5 RA 0302 F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36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57624"/>
            <a:ext cx="9681683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30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55CBBFE-B1F2-4735-B0BE-C0D5E01404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400" y="1400433"/>
            <a:ext cx="8055000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4169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42" y="694651"/>
            <a:ext cx="9681683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U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37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57624"/>
            <a:ext cx="9681683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30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00424AD-9013-43F4-A3B4-603017306D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400" y="1445995"/>
            <a:ext cx="8116185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08634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42" y="694651"/>
            <a:ext cx="9681683" cy="430887"/>
          </a:xfrm>
        </p:spPr>
        <p:txBody>
          <a:bodyPr/>
          <a:lstStyle/>
          <a:p>
            <a:r>
              <a:rPr lang="en-GB">
                <a:solidFill>
                  <a:schemeClr val="accent2"/>
                </a:solidFill>
              </a:rPr>
              <a:t>vs. U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38</a:t>
            </a:fld>
            <a:endParaRPr lang="en-GB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257624"/>
            <a:ext cx="9681683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/>
              <a:t>Becker U5.30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3ACA1E-072A-443D-9B1D-92D66765D4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2837" y="1455799"/>
            <a:ext cx="8110944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84784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E10697A-006F-4B26-9BD2-295947E993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E10697A-006F-4B26-9BD2-295947E993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FCB5B91-CB37-46EF-8044-5923376BCB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8638" y="694651"/>
            <a:ext cx="11125200" cy="430887"/>
          </a:xfrm>
        </p:spPr>
        <p:txBody>
          <a:bodyPr/>
          <a:lstStyle/>
          <a:p>
            <a:r>
              <a:rPr lang="en-GB"/>
              <a:t>motor power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4E5900A-B361-447B-8325-8552F12C270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39</a:t>
            </a:fld>
            <a:endParaRPr lang="en-GB"/>
          </a:p>
        </p:txBody>
      </p:sp>
      <p:graphicFrame>
        <p:nvGraphicFramePr>
          <p:cNvPr id="12" name="Table 151"/>
          <p:cNvGraphicFramePr/>
          <p:nvPr>
            <p:extLst>
              <p:ext uri="{D42A27DB-BD31-4B8C-83A1-F6EECF244321}">
                <p14:modId xmlns:p14="http://schemas.microsoft.com/office/powerpoint/2010/main" val="24058380"/>
              </p:ext>
            </p:extLst>
          </p:nvPr>
        </p:nvGraphicFramePr>
        <p:xfrm>
          <a:off x="528636" y="1376362"/>
          <a:ext cx="11125201" cy="4964062"/>
        </p:xfrm>
        <a:graphic>
          <a:graphicData uri="http://schemas.openxmlformats.org/drawingml/2006/table">
            <a:tbl>
              <a:tblPr/>
              <a:tblGrid>
                <a:gridCol w="5204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873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333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0381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 b="1">
                          <a:solidFill>
                            <a:schemeClr val="tx2"/>
                          </a:solidFill>
                        </a:rPr>
                        <a:t>Volume</a:t>
                      </a:r>
                      <a:endParaRPr sz="1400" b="1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 b="1">
                          <a:solidFill>
                            <a:schemeClr val="tx2"/>
                          </a:solidFill>
                        </a:rPr>
                        <a:t>Becker U5. (50/60Hz)</a:t>
                      </a:r>
                      <a:endParaRPr sz="1400" b="1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 b="1">
                          <a:solidFill>
                            <a:schemeClr val="tx2"/>
                          </a:solidFill>
                        </a:rPr>
                        <a:t>Busch R A R5 (50/60Hz)</a:t>
                      </a:r>
                      <a:endParaRPr sz="1400" b="1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361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70m³/h</a:t>
                      </a:r>
                      <a:endParaRPr sz="1400" b="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>
                          <a:solidFill>
                            <a:schemeClr val="accent2"/>
                          </a:solidFill>
                        </a:rPr>
                        <a:t>1.5</a:t>
                      </a: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/</a:t>
                      </a:r>
                      <a:r>
                        <a:rPr lang="de-DE" sz="1400">
                          <a:solidFill>
                            <a:schemeClr val="accent2"/>
                          </a:solidFill>
                        </a:rPr>
                        <a:t>1.8</a:t>
                      </a:r>
                      <a:endParaRPr sz="1400">
                        <a:solidFill>
                          <a:schemeClr val="accent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1.5/1.8</a:t>
                      </a: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2.0/2.7</a:t>
                      </a:r>
                      <a:endParaRPr sz="14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361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100m³/h</a:t>
                      </a:r>
                      <a:endParaRPr sz="1400" b="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de-DE" sz="1400">
                          <a:solidFill>
                            <a:schemeClr val="accent2"/>
                          </a:solidFill>
                        </a:rPr>
                        <a:t>2.2</a:t>
                      </a: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/</a:t>
                      </a:r>
                      <a:r>
                        <a:rPr lang="de-DE" sz="1400">
                          <a:solidFill>
                            <a:schemeClr val="accent2"/>
                          </a:solidFill>
                        </a:rPr>
                        <a:t>2.6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2.2/2.6</a:t>
                      </a: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2.7/3.4</a:t>
                      </a:r>
                      <a:endParaRPr sz="14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660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165m³/h</a:t>
                      </a:r>
                      <a:endParaRPr sz="1400" b="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>
                          <a:solidFill>
                            <a:schemeClr val="accent2"/>
                          </a:solidFill>
                        </a:rPr>
                        <a:t>3.0</a:t>
                      </a: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/</a:t>
                      </a:r>
                      <a:r>
                        <a:rPr lang="de-DE" sz="1400">
                          <a:solidFill>
                            <a:schemeClr val="accent2"/>
                          </a:solidFill>
                        </a:rPr>
                        <a:t>3.6</a:t>
                      </a: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 (4.0/4.8)</a:t>
                      </a:r>
                      <a:endParaRPr sz="14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4.0/5.5</a:t>
                      </a:r>
                      <a:endParaRPr sz="14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660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200m³/h</a:t>
                      </a:r>
                      <a:endParaRPr sz="1400" b="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4.0/</a:t>
                      </a:r>
                      <a:r>
                        <a:rPr lang="de-DE" sz="1400">
                          <a:solidFill>
                            <a:schemeClr val="accent2"/>
                          </a:solidFill>
                        </a:rPr>
                        <a:t>4.8</a:t>
                      </a: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 (5.5/6.6)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4.0/5.5</a:t>
                      </a:r>
                      <a:endParaRPr sz="14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660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3600" b="1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300m³/h (U4.)</a:t>
                      </a:r>
                      <a:endParaRPr sz="1400" b="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5.5/</a:t>
                      </a:r>
                      <a:r>
                        <a:rPr lang="de-DE" sz="1400">
                          <a:solidFill>
                            <a:schemeClr val="accent2"/>
                          </a:solidFill>
                        </a:rPr>
                        <a:t>6.6</a:t>
                      </a: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 (7.5/9.0)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5.5/7.5</a:t>
                      </a:r>
                      <a:endParaRPr sz="140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666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3600" b="1"/>
                      </a:pPr>
                      <a:r>
                        <a:rPr lang="de-DE" sz="1400" b="1">
                          <a:solidFill>
                            <a:schemeClr val="tx2"/>
                          </a:solidFill>
                        </a:rPr>
                        <a:t>400m³/h </a:t>
                      </a: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(U4.)</a:t>
                      </a:r>
                      <a:endParaRPr lang="de-DE" sz="1400" b="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11.0/</a:t>
                      </a:r>
                      <a:r>
                        <a:rPr lang="de-DE" sz="1400" kern="120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13.2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800" rtl="0" eaLnBrk="1" fontAlgn="auto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11.0/15.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489290"/>
                  </a:ext>
                </a:extLst>
              </a:tr>
              <a:tr h="5666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3600" b="1"/>
                      </a:pPr>
                      <a:r>
                        <a:rPr lang="de-DE" sz="1400" b="1">
                          <a:solidFill>
                            <a:schemeClr val="tx2"/>
                          </a:solidFill>
                        </a:rPr>
                        <a:t>630m³/h </a:t>
                      </a: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(U4.)</a:t>
                      </a:r>
                      <a:endParaRPr lang="de-DE" sz="1400" b="0">
                        <a:solidFill>
                          <a:schemeClr val="tx2"/>
                        </a:solidFill>
                      </a:endParaRP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defRPr sz="1800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15.0/</a:t>
                      </a:r>
                      <a:r>
                        <a:rPr lang="de-DE" sz="1400" kern="120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18.0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828800" rtl="0" eaLnBrk="1" fontAlgn="auto" latinLnBrk="0" hangingPunct="1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de-DE" sz="1400">
                          <a:solidFill>
                            <a:schemeClr val="tx2"/>
                          </a:solidFill>
                        </a:rPr>
                        <a:t>15.0/18.5</a:t>
                      </a:r>
                    </a:p>
                  </a:txBody>
                  <a:tcPr marL="36167" marR="36167" marT="36167" marB="36167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4981312"/>
                  </a:ext>
                </a:extLst>
              </a:tr>
            </a:tbl>
          </a:graphicData>
        </a:graphic>
      </p:graphicFrame>
      <p:sp>
        <p:nvSpPr>
          <p:cNvPr id="7" name="Textplatzhalter 31">
            <a:extLst>
              <a:ext uri="{FF2B5EF4-FFF2-40B4-BE49-F238E27FC236}">
                <a16:creationId xmlns:a16="http://schemas.microsoft.com/office/drawing/2014/main" id="{8FCB5B91-CB37-46EF-8044-5923376BCB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8638" y="263764"/>
            <a:ext cx="11125200" cy="430887"/>
          </a:xfrm>
        </p:spPr>
        <p:txBody>
          <a:bodyPr/>
          <a:lstStyle/>
          <a:p>
            <a:r>
              <a:rPr lang="en-GB">
                <a:solidFill>
                  <a:schemeClr val="tx2"/>
                </a:solidFill>
              </a:rPr>
              <a:t>U5.</a:t>
            </a:r>
            <a:r>
              <a:rPr lang="en-GB"/>
              <a:t> 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</p:spTree>
    <p:extLst>
      <p:ext uri="{BB962C8B-B14F-4D97-AF65-F5344CB8AC3E}">
        <p14:creationId xmlns:p14="http://schemas.microsoft.com/office/powerpoint/2010/main" val="13870015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54A9D1-2698-4EC2-A7E3-F6D9A985D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153014"/>
            <a:ext cx="11125200" cy="615553"/>
          </a:xfrm>
        </p:spPr>
        <p:txBody>
          <a:bodyPr/>
          <a:lstStyle/>
          <a:p>
            <a:r>
              <a:rPr lang="de-DE"/>
              <a:t>U5.</a:t>
            </a:r>
            <a:endParaRPr lang="en-AU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5892F9-C3D3-4437-9643-CA233FD4CB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Design / Concept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2510416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E10697A-006F-4B26-9BD2-295947E993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E10697A-006F-4B26-9BD2-295947E993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FCB5B91-CB37-46EF-8044-5923376BCB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8638" y="694651"/>
            <a:ext cx="11125200" cy="430887"/>
          </a:xfrm>
        </p:spPr>
        <p:txBody>
          <a:bodyPr/>
          <a:lstStyle/>
          <a:p>
            <a:r>
              <a:rPr lang="en-GB"/>
              <a:t>standard motor voltages (IE3) &lt;5.5kw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4E5900A-B361-447B-8325-8552F12C270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40</a:t>
            </a:fld>
            <a:endParaRPr lang="en-GB"/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0728229"/>
              </p:ext>
            </p:extLst>
          </p:nvPr>
        </p:nvGraphicFramePr>
        <p:xfrm>
          <a:off x="528638" y="1376363"/>
          <a:ext cx="11125200" cy="495141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562600">
                  <a:extLst>
                    <a:ext uri="{9D8B030D-6E8A-4147-A177-3AD203B41FA5}">
                      <a16:colId xmlns:a16="http://schemas.microsoft.com/office/drawing/2014/main" val="2091839131"/>
                    </a:ext>
                  </a:extLst>
                </a:gridCol>
                <a:gridCol w="5562600">
                  <a:extLst>
                    <a:ext uri="{9D8B030D-6E8A-4147-A177-3AD203B41FA5}">
                      <a16:colId xmlns:a16="http://schemas.microsoft.com/office/drawing/2014/main" val="1965951741"/>
                    </a:ext>
                  </a:extLst>
                </a:gridCol>
              </a:tblGrid>
              <a:tr h="2361444">
                <a:tc>
                  <a:txBody>
                    <a:bodyPr/>
                    <a:lstStyle/>
                    <a:p>
                      <a:pPr lvl="0" indent="0" algn="l">
                        <a:spcBef>
                          <a:spcPts val="3000"/>
                        </a:spcBef>
                        <a:buClr>
                          <a:schemeClr val="accent2"/>
                        </a:buClr>
                        <a:buFont typeface="Wingdings"/>
                        <a:defRPr sz="3600"/>
                      </a:pPr>
                      <a:r>
                        <a:rPr lang="es-ES" sz="1600" b="1">
                          <a:solidFill>
                            <a:schemeClr val="tx2"/>
                          </a:solidFill>
                          <a:latin typeface="+mn-lt"/>
                        </a:rPr>
                        <a:t>1. </a:t>
                      </a:r>
                      <a: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  <a:t>3~ (Europe)</a:t>
                      </a:r>
                      <a:b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es-ES" sz="1600" b="1">
                          <a:solidFill>
                            <a:schemeClr val="tx2"/>
                          </a:solidFill>
                          <a:latin typeface="+mn-lt"/>
                        </a:rPr>
                        <a:t>50Hz</a:t>
                      </a:r>
                      <a: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  <a:t> Δ-/ Y400V ± 10% (IE3)</a:t>
                      </a:r>
                      <a:b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es-ES" sz="1600" b="1">
                          <a:solidFill>
                            <a:schemeClr val="tx2"/>
                          </a:solidFill>
                          <a:latin typeface="+mn-lt"/>
                        </a:rPr>
                        <a:t>60Hz</a:t>
                      </a:r>
                      <a: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  <a:t> Δ265/ Y460V ± 10% (IE3)</a:t>
                      </a:r>
                      <a:b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es-ES" sz="1600" b="1">
                          <a:solidFill>
                            <a:schemeClr val="tx2"/>
                          </a:solidFill>
                          <a:latin typeface="+mn-lt"/>
                        </a:rPr>
                        <a:t>60Hz</a:t>
                      </a:r>
                      <a: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  <a:t> Δ230/ Y400V ± 10%</a:t>
                      </a:r>
                    </a:p>
                    <a:p>
                      <a:pPr algn="l"/>
                      <a:endParaRPr lang="de-DE" sz="12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solidFill>
                      <a:srgbClr val="EFEFED"/>
                    </a:solidFill>
                  </a:tcPr>
                </a:tc>
                <a:tc>
                  <a:txBody>
                    <a:bodyPr/>
                    <a:lstStyle/>
                    <a:p>
                      <a:pPr lvl="0" indent="0" algn="l">
                        <a:spcBef>
                          <a:spcPts val="3000"/>
                        </a:spcBef>
                        <a:buClr>
                          <a:schemeClr val="accent2"/>
                        </a:buClr>
                        <a:buFont typeface="Wingdings"/>
                        <a:defRPr sz="3600"/>
                      </a:pP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2.</a:t>
                      </a:r>
                      <a: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  <a:t> </a:t>
                      </a:r>
                      <a:r>
                        <a:rPr lang="de-DE" sz="1600" b="0">
                          <a:solidFill>
                            <a:schemeClr val="tx2"/>
                          </a:solidFill>
                          <a:latin typeface="+mn-lt"/>
                        </a:rPr>
                        <a:t>3~ (USA)</a:t>
                      </a:r>
                      <a:br>
                        <a:rPr lang="de-DE" sz="1600" b="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60Hz </a:t>
                      </a:r>
                      <a:r>
                        <a:rPr lang="de-DE" sz="1600" b="0">
                          <a:solidFill>
                            <a:schemeClr val="tx2"/>
                          </a:solidFill>
                          <a:latin typeface="+mn-lt"/>
                        </a:rPr>
                        <a:t>YY230/ Y460V ± 10% </a:t>
                      </a:r>
                      <a:br>
                        <a:rPr lang="de-DE" sz="1600" b="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de-DE" sz="1600" b="0">
                          <a:solidFill>
                            <a:schemeClr val="tx2"/>
                          </a:solidFill>
                          <a:latin typeface="+mn-lt"/>
                        </a:rPr>
                        <a:t>(IE3+UL/CSA)</a:t>
                      </a: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60Hz </a:t>
                      </a:r>
                      <a:r>
                        <a:rPr lang="en-US" sz="1600" b="0" noProof="0">
                          <a:solidFill>
                            <a:schemeClr val="tx2"/>
                          </a:solidFill>
                          <a:latin typeface="+mn-lt"/>
                        </a:rPr>
                        <a:t>usable</a:t>
                      </a:r>
                      <a:r>
                        <a:rPr lang="de-DE" sz="1600" b="0">
                          <a:solidFill>
                            <a:schemeClr val="tx2"/>
                          </a:solidFill>
                          <a:latin typeface="+mn-lt"/>
                        </a:rPr>
                        <a:t> @ 208V ± 10%</a:t>
                      </a:r>
                    </a:p>
                    <a:p>
                      <a:pPr algn="l"/>
                      <a:endParaRPr lang="de-DE" sz="12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2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2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2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2113287"/>
                  </a:ext>
                </a:extLst>
              </a:tr>
              <a:tr h="2589968">
                <a:tc>
                  <a:txBody>
                    <a:bodyPr/>
                    <a:lstStyle/>
                    <a:p>
                      <a:pPr lvl="0" indent="0" algn="l">
                        <a:spcBef>
                          <a:spcPts val="3000"/>
                        </a:spcBef>
                        <a:buClr>
                          <a:schemeClr val="accent2"/>
                        </a:buClr>
                        <a:buFont typeface="Wingdings"/>
                        <a:defRPr sz="3600"/>
                      </a:pP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3. </a:t>
                      </a:r>
                      <a: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  <a:t>3~ (JP/KR/BR)</a:t>
                      </a: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50Hz </a:t>
                      </a:r>
                      <a:r>
                        <a:rPr lang="el-GR" sz="1600">
                          <a:solidFill>
                            <a:schemeClr val="tx2"/>
                          </a:solidFill>
                          <a:latin typeface="+mn-lt"/>
                        </a:rPr>
                        <a:t>Δ200/ </a:t>
                      </a:r>
                      <a: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  <a:t>Y350V ± 10%</a:t>
                      </a: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60Hz </a:t>
                      </a:r>
                      <a:r>
                        <a:rPr lang="el-GR" sz="1600">
                          <a:solidFill>
                            <a:schemeClr val="tx2"/>
                          </a:solidFill>
                          <a:latin typeface="+mn-lt"/>
                        </a:rPr>
                        <a:t>Δ220/ </a:t>
                      </a:r>
                      <a: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  <a:t>Y380-400V ± 10% (IE3)</a:t>
                      </a: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60Hz </a:t>
                      </a:r>
                      <a:r>
                        <a:rPr lang="el-GR" sz="1600">
                          <a:solidFill>
                            <a:schemeClr val="tx2"/>
                          </a:solidFill>
                          <a:latin typeface="+mn-lt"/>
                        </a:rPr>
                        <a:t>Δ200/ </a:t>
                      </a:r>
                      <a: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  <a:t>Y350V ± 10%</a:t>
                      </a:r>
                    </a:p>
                    <a:p>
                      <a:pPr algn="l"/>
                      <a:endParaRPr lang="de-DE" sz="12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indent="0" algn="l">
                        <a:spcBef>
                          <a:spcPts val="3000"/>
                        </a:spcBef>
                        <a:buClr>
                          <a:schemeClr val="accent2"/>
                        </a:buClr>
                        <a:buFont typeface="Wingdings"/>
                        <a:defRPr sz="3600"/>
                      </a:pPr>
                      <a:r>
                        <a:rPr lang="es-ES" sz="1600" b="1">
                          <a:solidFill>
                            <a:schemeClr val="tx2"/>
                          </a:solidFill>
                          <a:latin typeface="+mn-lt"/>
                        </a:rPr>
                        <a:t>4.</a:t>
                      </a:r>
                      <a: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  <a:t> 3~</a:t>
                      </a:r>
                      <a:b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es-ES" sz="1600" b="1">
                          <a:solidFill>
                            <a:schemeClr val="tx2"/>
                          </a:solidFill>
                          <a:latin typeface="+mn-lt"/>
                        </a:rPr>
                        <a:t>60Hz </a:t>
                      </a:r>
                      <a: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  <a:t>Δ400/ Y690V ± 10% (IE3)</a:t>
                      </a:r>
                    </a:p>
                    <a:p>
                      <a:pPr algn="l"/>
                      <a:endParaRPr lang="de-DE" sz="12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2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2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2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2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9924918"/>
                  </a:ext>
                </a:extLst>
              </a:tr>
            </a:tbl>
          </a:graphicData>
        </a:graphic>
      </p:graphicFrame>
      <p:sp>
        <p:nvSpPr>
          <p:cNvPr id="7" name="Textplatzhalter 31">
            <a:extLst>
              <a:ext uri="{FF2B5EF4-FFF2-40B4-BE49-F238E27FC236}">
                <a16:creationId xmlns:a16="http://schemas.microsoft.com/office/drawing/2014/main" id="{8FCB5B91-CB37-46EF-8044-5923376BCB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8638" y="263764"/>
            <a:ext cx="11125200" cy="430887"/>
          </a:xfrm>
        </p:spPr>
        <p:txBody>
          <a:bodyPr/>
          <a:lstStyle/>
          <a:p>
            <a:r>
              <a:rPr lang="en-GB">
                <a:solidFill>
                  <a:schemeClr val="tx2"/>
                </a:solidFill>
              </a:rPr>
              <a:t>U5.</a:t>
            </a:r>
            <a:r>
              <a:rPr lang="en-GB"/>
              <a:t> 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</p:spTree>
    <p:extLst>
      <p:ext uri="{BB962C8B-B14F-4D97-AF65-F5344CB8AC3E}">
        <p14:creationId xmlns:p14="http://schemas.microsoft.com/office/powerpoint/2010/main" val="310185750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E10697A-006F-4B26-9BD2-295947E993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E10697A-006F-4B26-9BD2-295947E993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8FCB5B91-CB37-46EF-8044-5923376BCB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8638" y="694651"/>
            <a:ext cx="11125200" cy="430887"/>
          </a:xfrm>
        </p:spPr>
        <p:txBody>
          <a:bodyPr/>
          <a:lstStyle/>
          <a:p>
            <a:r>
              <a:rPr lang="en-GB"/>
              <a:t>standard motor voltages (IE3) &gt;5.5kw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4E5900A-B361-447B-8325-8552F12C270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41</a:t>
            </a:fld>
            <a:endParaRPr lang="en-GB"/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9262631"/>
              </p:ext>
            </p:extLst>
          </p:nvPr>
        </p:nvGraphicFramePr>
        <p:xfrm>
          <a:off x="528636" y="1376363"/>
          <a:ext cx="11125202" cy="511980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562601">
                  <a:extLst>
                    <a:ext uri="{9D8B030D-6E8A-4147-A177-3AD203B41FA5}">
                      <a16:colId xmlns:a16="http://schemas.microsoft.com/office/drawing/2014/main" val="2091839131"/>
                    </a:ext>
                  </a:extLst>
                </a:gridCol>
                <a:gridCol w="5562601">
                  <a:extLst>
                    <a:ext uri="{9D8B030D-6E8A-4147-A177-3AD203B41FA5}">
                      <a16:colId xmlns:a16="http://schemas.microsoft.com/office/drawing/2014/main" val="1965951741"/>
                    </a:ext>
                  </a:extLst>
                </a:gridCol>
              </a:tblGrid>
              <a:tr h="23614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>
                          <a:solidFill>
                            <a:schemeClr val="tx2"/>
                          </a:solidFill>
                          <a:latin typeface="+mn-lt"/>
                        </a:rPr>
                        <a:t>1. </a:t>
                      </a:r>
                      <a: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  <a:t>3~ (Europe)</a:t>
                      </a:r>
                      <a:b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es-ES" sz="1600" b="1">
                          <a:solidFill>
                            <a:schemeClr val="tx2"/>
                          </a:solidFill>
                          <a:latin typeface="+mn-lt"/>
                        </a:rPr>
                        <a:t>50Hz </a:t>
                      </a:r>
                      <a: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  <a:t>Δ400 V/ Y- ± 10% (IE3)</a:t>
                      </a:r>
                      <a:b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es-ES" sz="1600" b="1">
                          <a:solidFill>
                            <a:schemeClr val="tx2"/>
                          </a:solidFill>
                          <a:latin typeface="+mn-lt"/>
                        </a:rPr>
                        <a:t>60Hz </a:t>
                      </a:r>
                      <a: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  <a:t>Δ265 V/ Y- ± 10% (IE3)</a:t>
                      </a:r>
                      <a:b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es-ES" sz="1600" b="1">
                          <a:solidFill>
                            <a:schemeClr val="tx2"/>
                          </a:solidFill>
                          <a:latin typeface="+mn-lt"/>
                        </a:rPr>
                        <a:t>60Hz </a:t>
                      </a:r>
                      <a:r>
                        <a:rPr lang="es-ES" sz="1600" b="0">
                          <a:solidFill>
                            <a:schemeClr val="tx2"/>
                          </a:solidFill>
                          <a:latin typeface="+mn-lt"/>
                        </a:rPr>
                        <a:t>Δ230 V/ Y- ± 10%</a:t>
                      </a:r>
                    </a:p>
                    <a:p>
                      <a:pPr algn="l"/>
                      <a:endParaRPr lang="de-DE" sz="16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solidFill>
                      <a:srgbClr val="EFEF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2.</a:t>
                      </a:r>
                      <a: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  <a:t> </a:t>
                      </a:r>
                      <a:r>
                        <a:rPr lang="de-DE" sz="1600" b="0">
                          <a:solidFill>
                            <a:schemeClr val="tx2"/>
                          </a:solidFill>
                          <a:latin typeface="+mn-lt"/>
                        </a:rPr>
                        <a:t>3~ (USA)</a:t>
                      </a: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60Hz </a:t>
                      </a:r>
                      <a:r>
                        <a:rPr lang="de-DE" sz="1600" b="0">
                          <a:solidFill>
                            <a:schemeClr val="tx2"/>
                          </a:solidFill>
                          <a:latin typeface="+mn-lt"/>
                        </a:rPr>
                        <a:t>YY230/ Y460V ± 10% </a:t>
                      </a:r>
                      <a:br>
                        <a:rPr lang="de-DE" sz="1600" b="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de-DE" sz="1600" b="0">
                          <a:solidFill>
                            <a:schemeClr val="tx2"/>
                          </a:solidFill>
                          <a:latin typeface="+mn-lt"/>
                        </a:rPr>
                        <a:t>(IE3+UL/CSA)</a:t>
                      </a: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60Hz </a:t>
                      </a:r>
                      <a:r>
                        <a:rPr lang="de-DE" sz="1600" b="0" err="1">
                          <a:solidFill>
                            <a:schemeClr val="tx2"/>
                          </a:solidFill>
                          <a:latin typeface="+mn-lt"/>
                        </a:rPr>
                        <a:t>usable</a:t>
                      </a:r>
                      <a:r>
                        <a:rPr lang="de-DE" sz="1600" b="0">
                          <a:solidFill>
                            <a:schemeClr val="tx2"/>
                          </a:solidFill>
                          <a:latin typeface="+mn-lt"/>
                        </a:rPr>
                        <a:t> @ 208V ± 10%</a:t>
                      </a:r>
                    </a:p>
                    <a:p>
                      <a:pPr algn="l"/>
                      <a:endParaRPr lang="de-DE" sz="16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6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6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6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2113287"/>
                  </a:ext>
                </a:extLst>
              </a:tr>
              <a:tr h="25899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3. </a:t>
                      </a:r>
                      <a: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  <a:t>3~ (JP/KR/BR)</a:t>
                      </a: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50Hz </a:t>
                      </a:r>
                      <a:r>
                        <a:rPr lang="el-GR" sz="1600">
                          <a:solidFill>
                            <a:schemeClr val="tx2"/>
                          </a:solidFill>
                          <a:latin typeface="+mn-lt"/>
                        </a:rPr>
                        <a:t>Δ200/ </a:t>
                      </a:r>
                      <a: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  <a:t>Y350V ± 10%</a:t>
                      </a: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60Hz </a:t>
                      </a:r>
                      <a:r>
                        <a:rPr lang="el-GR" sz="1600">
                          <a:solidFill>
                            <a:schemeClr val="tx2"/>
                          </a:solidFill>
                          <a:latin typeface="+mn-lt"/>
                        </a:rPr>
                        <a:t>Δ220/ </a:t>
                      </a:r>
                      <a: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  <a:t>Y380-400V ± 10% (IE3)</a:t>
                      </a: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de-DE" sz="1600" b="1">
                          <a:solidFill>
                            <a:schemeClr val="tx2"/>
                          </a:solidFill>
                          <a:latin typeface="+mn-lt"/>
                        </a:rPr>
                        <a:t>60Hz </a:t>
                      </a:r>
                      <a:r>
                        <a:rPr lang="el-GR" sz="1600">
                          <a:solidFill>
                            <a:schemeClr val="tx2"/>
                          </a:solidFill>
                          <a:latin typeface="+mn-lt"/>
                        </a:rPr>
                        <a:t>Δ200/ </a:t>
                      </a:r>
                      <a:r>
                        <a:rPr lang="de-DE" sz="1600">
                          <a:solidFill>
                            <a:schemeClr val="tx2"/>
                          </a:solidFill>
                          <a:latin typeface="+mn-lt"/>
                        </a:rPr>
                        <a:t>Y350V ± 10%</a:t>
                      </a:r>
                    </a:p>
                    <a:p>
                      <a:pPr algn="l"/>
                      <a:endParaRPr lang="de-DE" sz="16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>
                          <a:solidFill>
                            <a:schemeClr val="tx2"/>
                          </a:solidFill>
                          <a:latin typeface="+mn-lt"/>
                        </a:rPr>
                        <a:t>4.</a:t>
                      </a:r>
                      <a: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  <a:t> 3~</a:t>
                      </a:r>
                      <a:b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b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</a:br>
                      <a:r>
                        <a:rPr lang="es-ES" sz="1600" b="1">
                          <a:solidFill>
                            <a:schemeClr val="tx2"/>
                          </a:solidFill>
                          <a:latin typeface="+mn-lt"/>
                        </a:rPr>
                        <a:t>60Hz </a:t>
                      </a:r>
                      <a:r>
                        <a:rPr lang="es-ES" sz="1600">
                          <a:solidFill>
                            <a:schemeClr val="tx2"/>
                          </a:solidFill>
                          <a:latin typeface="+mn-lt"/>
                        </a:rPr>
                        <a:t>Δ400/ Y690V ± 10% (IE3)</a:t>
                      </a:r>
                    </a:p>
                    <a:p>
                      <a:pPr algn="l"/>
                      <a:endParaRPr lang="de-DE" sz="16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6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6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600">
                        <a:solidFill>
                          <a:schemeClr val="tx2"/>
                        </a:solidFill>
                        <a:latin typeface="+mn-lt"/>
                      </a:endParaRPr>
                    </a:p>
                    <a:p>
                      <a:pPr algn="l"/>
                      <a:endParaRPr lang="de-DE" sz="16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9924918"/>
                  </a:ext>
                </a:extLst>
              </a:tr>
            </a:tbl>
          </a:graphicData>
        </a:graphic>
      </p:graphicFrame>
      <p:sp>
        <p:nvSpPr>
          <p:cNvPr id="7" name="Textplatzhalter 31">
            <a:extLst>
              <a:ext uri="{FF2B5EF4-FFF2-40B4-BE49-F238E27FC236}">
                <a16:creationId xmlns:a16="http://schemas.microsoft.com/office/drawing/2014/main" id="{8FCB5B91-CB37-46EF-8044-5923376BCB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8638" y="263764"/>
            <a:ext cx="11125200" cy="430887"/>
          </a:xfrm>
        </p:spPr>
        <p:txBody>
          <a:bodyPr/>
          <a:lstStyle/>
          <a:p>
            <a:r>
              <a:rPr lang="en-GB">
                <a:solidFill>
                  <a:schemeClr val="tx2"/>
                </a:solidFill>
              </a:rPr>
              <a:t>U5.</a:t>
            </a:r>
            <a:r>
              <a:rPr lang="en-GB"/>
              <a:t> 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</p:spTree>
    <p:extLst>
      <p:ext uri="{BB962C8B-B14F-4D97-AF65-F5344CB8AC3E}">
        <p14:creationId xmlns:p14="http://schemas.microsoft.com/office/powerpoint/2010/main" val="151835596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E1B7E58-A10C-498E-B149-709732DC96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E1B7E58-A10C-498E-B149-709732DC96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885E5EB-CD4E-4B3B-A8D8-ED588E3E6C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20000"/>
              </a:lnSpc>
            </a:pPr>
            <a:endParaRPr lang="en-GB" sz="4000" b="1">
              <a:solidFill>
                <a:srgbClr val="00335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91C413B-A775-4092-84A4-D9E1BC7484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8638" y="1905318"/>
            <a:ext cx="5376861" cy="1231106"/>
          </a:xfrm>
        </p:spPr>
        <p:txBody>
          <a:bodyPr/>
          <a:lstStyle/>
          <a:p>
            <a:r>
              <a:rPr lang="en-GB"/>
              <a:t>Thank you for your attention!</a:t>
            </a:r>
          </a:p>
        </p:txBody>
      </p:sp>
    </p:spTree>
    <p:extLst>
      <p:ext uri="{BB962C8B-B14F-4D97-AF65-F5344CB8AC3E}">
        <p14:creationId xmlns:p14="http://schemas.microsoft.com/office/powerpoint/2010/main" val="9539829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3">
            <a:extLst>
              <a:ext uri="{FF2B5EF4-FFF2-40B4-BE49-F238E27FC236}">
                <a16:creationId xmlns:a16="http://schemas.microsoft.com/office/drawing/2014/main" id="{F1A60201-00BB-408F-B749-AD9DC63C6280}"/>
              </a:ext>
            </a:extLst>
          </p:cNvPr>
          <p:cNvSpPr txBox="1">
            <a:spLocks/>
          </p:cNvSpPr>
          <p:nvPr/>
        </p:nvSpPr>
        <p:spPr>
          <a:xfrm>
            <a:off x="528638" y="257495"/>
            <a:ext cx="11125200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altLang="de-DE"/>
              <a:t>U5.</a:t>
            </a:r>
            <a:endParaRPr lang="en-GB"/>
          </a:p>
        </p:txBody>
      </p:sp>
      <p:sp>
        <p:nvSpPr>
          <p:cNvPr id="16" name="Textplatzhalter 1">
            <a:extLst>
              <a:ext uri="{FF2B5EF4-FFF2-40B4-BE49-F238E27FC236}">
                <a16:creationId xmlns:a16="http://schemas.microsoft.com/office/drawing/2014/main" id="{AA61918B-2A5F-4192-8A5D-315BE7C3F2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8638" y="688382"/>
            <a:ext cx="10445927" cy="430887"/>
          </a:xfrm>
        </p:spPr>
        <p:txBody>
          <a:bodyPr/>
          <a:lstStyle/>
          <a:p>
            <a:r>
              <a:rPr lang="de-DE"/>
              <a:t>design / </a:t>
            </a:r>
            <a:r>
              <a:rPr lang="de-DE" err="1"/>
              <a:t>concept</a:t>
            </a:r>
            <a:endParaRPr lang="de-DE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865AAE2-D9EE-4BCD-94B5-CD1627E2CB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865AAE2-D9EE-4BCD-94B5-CD1627E2CB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61011BF6-0015-4A38-A05C-4E7D68B76AE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120000"/>
              </a:lnSpc>
            </a:pPr>
            <a:endParaRPr lang="en-GB" sz="2800" b="1">
              <a:solidFill>
                <a:srgbClr val="00335C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68D8CC62-3374-43D3-96AF-3C6B4A1BAA4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5</a:t>
            </a:fld>
            <a:endParaRPr lang="en-GB"/>
          </a:p>
        </p:txBody>
      </p:sp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46912" y="1674811"/>
            <a:ext cx="3092475" cy="2361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273" y="4394190"/>
            <a:ext cx="4417752" cy="1954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7171" y="1674811"/>
            <a:ext cx="3619196" cy="2468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1140" y="4304357"/>
            <a:ext cx="3091258" cy="2044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</p:spTree>
    <p:extLst>
      <p:ext uri="{BB962C8B-B14F-4D97-AF65-F5344CB8AC3E}">
        <p14:creationId xmlns:p14="http://schemas.microsoft.com/office/powerpoint/2010/main" val="11597403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49366" y="2034498"/>
            <a:ext cx="2626129" cy="4475744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865AAE2-D9EE-4BCD-94B5-CD1627E2CB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865AAE2-D9EE-4BCD-94B5-CD1627E2CB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61011BF6-0015-4A38-A05C-4E7D68B76AE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120000"/>
              </a:lnSpc>
            </a:pPr>
            <a:endParaRPr lang="en-GB" sz="2800" b="1">
              <a:solidFill>
                <a:srgbClr val="00335C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1A60201-00BB-408F-B749-AD9DC63C6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063" y="271184"/>
            <a:ext cx="11125200" cy="430887"/>
          </a:xfrm>
        </p:spPr>
        <p:txBody>
          <a:bodyPr/>
          <a:lstStyle/>
          <a:p>
            <a:r>
              <a:rPr lang="de-DE" altLang="de-DE"/>
              <a:t>U5.77/101</a:t>
            </a:r>
            <a:endParaRPr lang="en-GB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A61918B-2A5F-4192-8A5D-315BE7C3F2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42063" y="702071"/>
            <a:ext cx="10445927" cy="430887"/>
          </a:xfrm>
        </p:spPr>
        <p:txBody>
          <a:bodyPr/>
          <a:lstStyle/>
          <a:p>
            <a:r>
              <a:rPr lang="de-DE"/>
              <a:t>design / </a:t>
            </a:r>
            <a:r>
              <a:rPr lang="de-DE" err="1"/>
              <a:t>concept</a:t>
            </a:r>
            <a:endParaRPr lang="de-DE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68D8CC62-3374-43D3-96AF-3C6B4A1BAA4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3" name="Textfeld 2"/>
          <p:cNvSpPr txBox="1"/>
          <p:nvPr/>
        </p:nvSpPr>
        <p:spPr>
          <a:xfrm>
            <a:off x="528638" y="1417843"/>
            <a:ext cx="95778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altLang="de-DE" b="1">
                <a:solidFill>
                  <a:schemeClr val="tx2"/>
                </a:solidFill>
              </a:rPr>
              <a:t>Air guidance and oil return are integrated into the side covers/ lids</a:t>
            </a:r>
          </a:p>
          <a:p>
            <a:endParaRPr lang="de-DE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8638" y="2659095"/>
            <a:ext cx="6589575" cy="3673136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</p:spTree>
    <p:extLst>
      <p:ext uri="{BB962C8B-B14F-4D97-AF65-F5344CB8AC3E}">
        <p14:creationId xmlns:p14="http://schemas.microsoft.com/office/powerpoint/2010/main" val="26291303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865AAE2-D9EE-4BCD-94B5-CD1627E2CB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865AAE2-D9EE-4BCD-94B5-CD1627E2CB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61011BF6-0015-4A38-A05C-4E7D68B76AE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120000"/>
              </a:lnSpc>
            </a:pPr>
            <a:endParaRPr lang="en-GB" sz="2800" b="1">
              <a:solidFill>
                <a:srgbClr val="00335C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1A60201-00BB-408F-B749-AD9DC63C6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263764"/>
            <a:ext cx="11125200" cy="430887"/>
          </a:xfrm>
        </p:spPr>
        <p:txBody>
          <a:bodyPr/>
          <a:lstStyle/>
          <a:p>
            <a:r>
              <a:rPr lang="de-DE" altLang="de-DE"/>
              <a:t>U5.166/201/301</a:t>
            </a:r>
            <a:endParaRPr lang="en-GB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A61918B-2A5F-4192-8A5D-315BE7C3F2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8638" y="694651"/>
            <a:ext cx="10445927" cy="430887"/>
          </a:xfrm>
        </p:spPr>
        <p:txBody>
          <a:bodyPr/>
          <a:lstStyle/>
          <a:p>
            <a:r>
              <a:rPr lang="de-DE"/>
              <a:t>design / </a:t>
            </a:r>
            <a:r>
              <a:rPr lang="de-DE" err="1"/>
              <a:t>concept</a:t>
            </a:r>
            <a:endParaRPr lang="de-DE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68D8CC62-3374-43D3-96AF-3C6B4A1BAA4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3" name="Textfeld 2"/>
          <p:cNvSpPr txBox="1"/>
          <p:nvPr/>
        </p:nvSpPr>
        <p:spPr>
          <a:xfrm>
            <a:off x="528638" y="1405578"/>
            <a:ext cx="93853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altLang="de-DE" b="1">
                <a:solidFill>
                  <a:schemeClr val="tx2"/>
                </a:solidFill>
              </a:rPr>
              <a:t>Air guidance and oil return are integrated into the side covers / lids</a:t>
            </a:r>
          </a:p>
          <a:p>
            <a:endParaRPr lang="de-DE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87984" y="2568082"/>
            <a:ext cx="5930003" cy="3547582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93630" y="2046646"/>
            <a:ext cx="3058328" cy="4306084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</p:spTree>
    <p:extLst>
      <p:ext uri="{BB962C8B-B14F-4D97-AF65-F5344CB8AC3E}">
        <p14:creationId xmlns:p14="http://schemas.microsoft.com/office/powerpoint/2010/main" val="32032354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865AAE2-D9EE-4BCD-94B5-CD1627E2CB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865AAE2-D9EE-4BCD-94B5-CD1627E2CB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61011BF6-0015-4A38-A05C-4E7D68B76AE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120000"/>
              </a:lnSpc>
            </a:pPr>
            <a:endParaRPr lang="en-GB" sz="2800" b="1">
              <a:solidFill>
                <a:srgbClr val="00335C"/>
              </a:solidFill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1A60201-00BB-408F-B749-AD9DC63C6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238895"/>
            <a:ext cx="11125200" cy="430887"/>
          </a:xfrm>
        </p:spPr>
        <p:txBody>
          <a:bodyPr/>
          <a:lstStyle/>
          <a:p>
            <a:r>
              <a:rPr lang="de-DE" altLang="de-DE"/>
              <a:t>U5.</a:t>
            </a:r>
            <a:endParaRPr lang="en-GB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A61918B-2A5F-4192-8A5D-315BE7C3F2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8638" y="676097"/>
            <a:ext cx="10445927" cy="430887"/>
          </a:xfrm>
        </p:spPr>
        <p:txBody>
          <a:bodyPr/>
          <a:lstStyle/>
          <a:p>
            <a:r>
              <a:rPr lang="de-DE"/>
              <a:t>design / </a:t>
            </a:r>
            <a:r>
              <a:rPr lang="de-DE" err="1"/>
              <a:t>concept</a:t>
            </a:r>
            <a:endParaRPr lang="de-DE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68D8CC62-3374-43D3-96AF-3C6B4A1BAA4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3" name="Textfeld 2"/>
          <p:cNvSpPr txBox="1"/>
          <p:nvPr/>
        </p:nvSpPr>
        <p:spPr>
          <a:xfrm>
            <a:off x="528638" y="1393197"/>
            <a:ext cx="89460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altLang="de-DE" b="1">
                <a:solidFill>
                  <a:schemeClr val="tx2"/>
                </a:solidFill>
              </a:rPr>
              <a:t>71-201 share the same elements</a:t>
            </a:r>
            <a:endParaRPr lang="de-DE" sz="200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4530" y="3128200"/>
            <a:ext cx="1642269" cy="3185888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51954" y="2486405"/>
            <a:ext cx="2677824" cy="3827683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32089" y="1731336"/>
            <a:ext cx="2624622" cy="4634528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1592685" y="2686814"/>
            <a:ext cx="744114" cy="276999"/>
          </a:xfrm>
          <a:prstGeom prst="rect">
            <a:avLst/>
          </a:prstGeom>
          <a:solidFill>
            <a:srgbClr val="EFEFED"/>
          </a:solidFill>
        </p:spPr>
        <p:txBody>
          <a:bodyPr wrap="none" rtlCol="0">
            <a:spAutoFit/>
          </a:bodyPr>
          <a:lstStyle/>
          <a:p>
            <a:r>
              <a:rPr lang="de-DE" altLang="de-DE" sz="1200">
                <a:solidFill>
                  <a:schemeClr val="tx2"/>
                </a:solidFill>
              </a:rPr>
              <a:t>71/101</a:t>
            </a:r>
            <a:endParaRPr lang="de-DE" sz="1200">
              <a:solidFill>
                <a:schemeClr val="tx2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008182" y="2088944"/>
            <a:ext cx="841897" cy="276999"/>
          </a:xfrm>
          <a:prstGeom prst="rect">
            <a:avLst/>
          </a:prstGeom>
          <a:solidFill>
            <a:srgbClr val="EFEFED"/>
          </a:solidFill>
        </p:spPr>
        <p:txBody>
          <a:bodyPr wrap="none" rtlCol="0">
            <a:spAutoFit/>
          </a:bodyPr>
          <a:lstStyle/>
          <a:p>
            <a:r>
              <a:rPr lang="de-DE" altLang="de-DE" sz="1200">
                <a:solidFill>
                  <a:schemeClr val="tx2"/>
                </a:solidFill>
              </a:rPr>
              <a:t>166/201</a:t>
            </a:r>
            <a:endParaRPr lang="de-DE" sz="1200">
              <a:solidFill>
                <a:schemeClr val="tx2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10178695" y="1348919"/>
            <a:ext cx="478016" cy="276999"/>
          </a:xfrm>
          <a:prstGeom prst="rect">
            <a:avLst/>
          </a:prstGeom>
          <a:solidFill>
            <a:srgbClr val="EFEFED"/>
          </a:solidFill>
        </p:spPr>
        <p:txBody>
          <a:bodyPr wrap="none" rtlCol="0">
            <a:spAutoFit/>
          </a:bodyPr>
          <a:lstStyle/>
          <a:p>
            <a:r>
              <a:rPr lang="de-DE" altLang="de-DE" sz="1200">
                <a:solidFill>
                  <a:schemeClr val="tx2"/>
                </a:solidFill>
              </a:rPr>
              <a:t>301</a:t>
            </a:r>
            <a:endParaRPr lang="de-DE" sz="1200">
              <a:solidFill>
                <a:schemeClr val="tx2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</p:spTree>
    <p:extLst>
      <p:ext uri="{BB962C8B-B14F-4D97-AF65-F5344CB8AC3E}">
        <p14:creationId xmlns:p14="http://schemas.microsoft.com/office/powerpoint/2010/main" val="34439734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1E95BF-A358-4AEC-8DD0-24BC50738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1E95BF-A358-4AEC-8DD0-24BC50738E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276817"/>
            <a:ext cx="6248136" cy="430887"/>
          </a:xfrm>
        </p:spPr>
        <p:txBody>
          <a:bodyPr/>
          <a:lstStyle/>
          <a:p>
            <a:r>
              <a:rPr lang="en-GB"/>
              <a:t>U5.71/101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39D2CA-555D-4673-9475-AEB59073603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050AE3-0D73-4142-BECE-DF5058C9FB53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D617F71-D9B9-45DE-9CB4-BDD8E3CB8D9B}"/>
              </a:ext>
            </a:extLst>
          </p:cNvPr>
          <p:cNvSpPr>
            <a:spLocks/>
          </p:cNvSpPr>
          <p:nvPr/>
        </p:nvSpPr>
        <p:spPr>
          <a:xfrm>
            <a:off x="1106170" y="1634213"/>
            <a:ext cx="4194708" cy="35656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AU" altLang="de-DE" sz="1600" b="1">
                <a:solidFill>
                  <a:schemeClr val="tx2"/>
                </a:solidFill>
              </a:rPr>
              <a:t>        </a:t>
            </a:r>
            <a:r>
              <a:rPr lang="en-AU" altLang="de-DE" sz="1600" b="1" u="sng">
                <a:solidFill>
                  <a:schemeClr val="tx2"/>
                </a:solidFill>
              </a:rPr>
              <a:t>Standard</a:t>
            </a:r>
            <a:r>
              <a:rPr lang="en-AU" altLang="de-DE" sz="1600" b="1">
                <a:solidFill>
                  <a:schemeClr val="tx2"/>
                </a:solidFill>
              </a:rPr>
              <a:t> (Diverting cap)	</a:t>
            </a:r>
            <a:endParaRPr lang="en-GB" sz="1600" b="1">
              <a:solidFill>
                <a:schemeClr val="tx2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64D2F71-7C6C-4B96-AD9C-2335FDC750C2}"/>
              </a:ext>
            </a:extLst>
          </p:cNvPr>
          <p:cNvSpPr>
            <a:spLocks/>
          </p:cNvSpPr>
          <p:nvPr/>
        </p:nvSpPr>
        <p:spPr>
          <a:xfrm>
            <a:off x="6407208" y="1677611"/>
            <a:ext cx="4200349" cy="62737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/>
            <a:r>
              <a:rPr lang="en-AU" altLang="de-DE" sz="1600" b="1" u="sng">
                <a:solidFill>
                  <a:schemeClr val="tx2"/>
                </a:solidFill>
                <a:cs typeface="Arial" pitchFamily="34" charset="0"/>
              </a:rPr>
              <a:t>Optional</a:t>
            </a:r>
            <a:r>
              <a:rPr lang="en-AU" altLang="de-DE" sz="1600" b="1">
                <a:solidFill>
                  <a:schemeClr val="tx2"/>
                </a:solidFill>
                <a:cs typeface="Arial" pitchFamily="34" charset="0"/>
              </a:rPr>
              <a:t> (Female thread</a:t>
            </a:r>
          </a:p>
          <a:p>
            <a:pPr algn="ctr"/>
            <a:r>
              <a:rPr lang="en-AU" altLang="de-DE" sz="1600" b="1">
                <a:solidFill>
                  <a:schemeClr val="tx2"/>
                </a:solidFill>
                <a:cs typeface="Arial" pitchFamily="34" charset="0"/>
              </a:rPr>
              <a:t>and burst valve)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D08AB1D1-F565-4CF5-A0AC-44407553074D}"/>
              </a:ext>
            </a:extLst>
          </p:cNvPr>
          <p:cNvSpPr>
            <a:spLocks noChangeAspect="1"/>
          </p:cNvSpPr>
          <p:nvPr/>
        </p:nvSpPr>
        <p:spPr>
          <a:xfrm>
            <a:off x="2002891" y="3743954"/>
            <a:ext cx="3415776" cy="2214490"/>
          </a:xfrm>
          <a:prstGeom prst="rect">
            <a:avLst/>
          </a:prstGeom>
          <a:solidFill>
            <a:srgbClr val="EFEFED"/>
          </a:solidFill>
          <a:ln>
            <a:noFill/>
          </a:ln>
        </p:spPr>
        <p:txBody>
          <a:bodyPr wrap="square" lIns="0" tIns="0" rIns="0" bIns="72000" rtlCol="0" anchor="b">
            <a:noAutofit/>
          </a:bodyPr>
          <a:lstStyle/>
          <a:p>
            <a:pPr algn="ctr"/>
            <a:endParaRPr lang="en-GB" sz="800" b="1">
              <a:solidFill>
                <a:schemeClr val="tx2"/>
              </a:solidFill>
            </a:endParaRPr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7551" y="2663774"/>
            <a:ext cx="4194708" cy="357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2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54343" y="2658689"/>
            <a:ext cx="4200348" cy="3575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3">
            <a:extLst>
              <a:ext uri="{FF2B5EF4-FFF2-40B4-BE49-F238E27FC236}">
                <a16:creationId xmlns:a16="http://schemas.microsoft.com/office/drawing/2014/main" id="{7F81FEBD-5CBA-4857-84EF-CB5EA994C8F0}"/>
              </a:ext>
            </a:extLst>
          </p:cNvPr>
          <p:cNvSpPr txBox="1">
            <a:spLocks/>
          </p:cNvSpPr>
          <p:nvPr/>
        </p:nvSpPr>
        <p:spPr>
          <a:xfrm>
            <a:off x="528638" y="694651"/>
            <a:ext cx="6248136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GB">
                <a:solidFill>
                  <a:schemeClr val="accent2"/>
                </a:solidFill>
                <a:latin typeface="Verdana"/>
                <a:ea typeface="Verdana"/>
              </a:rPr>
              <a:t>exhaust connection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U5 | March 2021</a:t>
            </a:r>
          </a:p>
        </p:txBody>
      </p:sp>
    </p:spTree>
    <p:extLst>
      <p:ext uri="{BB962C8B-B14F-4D97-AF65-F5344CB8AC3E}">
        <p14:creationId xmlns:p14="http://schemas.microsoft.com/office/powerpoint/2010/main" val="29738777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GsNNIoA4f.uxFktFOj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bw97iVO_U.E.QUqiNG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bw97iVO_U.E.QUqiNG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bw97iVO_U.E.QUqiNG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bw97iVO_U.E.QUqiNG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bw97iVO_U.E.QUqiNG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bw97iVO_U.E.QUqiNG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bw97iVO_U.E.QUqiNGR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bw97iVO_U.E.QUqiNG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IxcNpFoChIn8LVyPsJW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8KGT2yRVAEyde.3VIB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8KGT2yRVAEyde.3VIB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Izjvnhei4zXuZm.GMOp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ex6MykA7ryw08cwMrIm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ex6MykA7ryw08cwMrI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ex6MykA7ryw08cwMrIm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ex6MykA7ryw08cwMrI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8KGT2yRVAEyde.3VIBl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8KGT2yRVAEyde.3VIBl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ZMVLzDd_8vCstQDhP5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GsNNIoA4f.uxFktFOjYg"/>
</p:tagLst>
</file>

<file path=ppt/theme/theme1.xml><?xml version="1.0" encoding="utf-8"?>
<a:theme xmlns:a="http://schemas.openxmlformats.org/drawingml/2006/main" name="Office">
  <a:themeElements>
    <a:clrScheme name="Becker_colors">
      <a:dk1>
        <a:sysClr val="windowText" lastClr="000000"/>
      </a:dk1>
      <a:lt1>
        <a:sysClr val="window" lastClr="FFFFFF"/>
      </a:lt1>
      <a:dk2>
        <a:srgbClr val="12365B"/>
      </a:dk2>
      <a:lt2>
        <a:srgbClr val="FFFFFF"/>
      </a:lt2>
      <a:accent1>
        <a:srgbClr val="12365B"/>
      </a:accent1>
      <a:accent2>
        <a:srgbClr val="48B5CD"/>
      </a:accent2>
      <a:accent3>
        <a:srgbClr val="ADB0A7"/>
      </a:accent3>
      <a:accent4>
        <a:srgbClr val="E9C816"/>
      </a:accent4>
      <a:accent5>
        <a:srgbClr val="9BBE46"/>
      </a:accent5>
      <a:accent6>
        <a:srgbClr val="B40082"/>
      </a:accent6>
      <a:hlink>
        <a:srgbClr val="000000"/>
      </a:hlink>
      <a:folHlink>
        <a:srgbClr val="000000"/>
      </a:folHlink>
    </a:clrScheme>
    <a:fontScheme name="Becker_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wrap="square" lIns="0" tIns="0" rIns="0" bIns="0" rtlCol="0" anchor="ctr">
        <a:noAutofit/>
      </a:bodyPr>
      <a:lstStyle>
        <a:defPPr algn="l">
          <a:lnSpc>
            <a:spcPct val="120000"/>
          </a:lnSpc>
          <a:defRPr sz="1200" dirty="0">
            <a:solidFill>
              <a:srgbClr val="00335C"/>
            </a:solidFill>
          </a:defRPr>
        </a:defPPr>
      </a:lst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.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eep Indigo 80">
      <a:srgbClr val="415E7C"/>
    </a:custClr>
    <a:custClr name="Stream Blue 80">
      <a:srgbClr val="6DC4D7"/>
    </a:custClr>
    <a:custClr name="Elephant Grey 80">
      <a:srgbClr val="BDC0B9"/>
    </a:custClr>
    <a:custClr name="Butter Yellow 80">
      <a:srgbClr val="EDD345"/>
    </a:custClr>
    <a:custClr name="Lime Green 80">
      <a:srgbClr val="AFCB6B"/>
    </a:custClr>
    <a:custClr name="Magenta 80">
      <a:srgbClr val="C3339B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eep Indigo 60">
      <a:srgbClr val="71869D"/>
    </a:custClr>
    <a:custClr name="Stream Blue 60">
      <a:srgbClr val="91D3E1"/>
    </a:custClr>
    <a:custClr name="Elephant Grey 60">
      <a:srgbClr val="CED0CA"/>
    </a:custClr>
    <a:custClr name="Butter Yellow 60">
      <a:srgbClr val="F2DE73"/>
    </a:custClr>
    <a:custClr name="Lime Green 60">
      <a:srgbClr val="C3D890"/>
    </a:custClr>
    <a:custClr name="Magenta 60">
      <a:srgbClr val="D266B4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eep Indigo 40">
      <a:srgbClr val="A0AFBD"/>
    </a:custClr>
    <a:custClr name="Stream Blue 40">
      <a:srgbClr val="B6E1EB"/>
    </a:custClr>
    <a:custClr name="Elephant Grey 40">
      <a:srgbClr val="DEDFDC"/>
    </a:custClr>
    <a:custClr name="Butter Yellow 40">
      <a:srgbClr val="F6E9A2"/>
    </a:custClr>
    <a:custClr name="Lime Green 40">
      <a:srgbClr val="D7E5B5"/>
    </a:custClr>
    <a:custClr name="Magenta 40">
      <a:srgbClr val="E199C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Deep Indigo 20">
      <a:srgbClr val="D0D7DE"/>
    </a:custClr>
    <a:custClr name="Stream Blue 20">
      <a:srgbClr val="DAF0F5"/>
    </a:custClr>
    <a:custClr name="Elephant Grey 20">
      <a:srgbClr val="EFEFED"/>
    </a:custClr>
    <a:custClr name="Butter Yellow 20">
      <a:srgbClr val="FBF4D0"/>
    </a:custClr>
    <a:custClr name="Lime Green 20">
      <a:srgbClr val="EBF2DA"/>
    </a:custClr>
    <a:custClr name="Magenta 20">
      <a:srgbClr val="F0CCE6"/>
    </a:custClr>
  </a:custClrLst>
  <a:extLst>
    <a:ext uri="{05A4C25C-085E-4340-85A3-A5531E510DB2}">
      <thm15:themeFamily xmlns:thm15="http://schemas.microsoft.com/office/thememl/2012/main" name="Becker_Master_16_9_IP.potx" id="{85010815-C315-46F0-8FBC-CCC1E5F1FCCC}" vid="{1A2ED46C-59A0-497B-BBE1-D19F2D563E6C}"/>
    </a:ext>
  </a:extLst>
</a:theme>
</file>

<file path=ppt/theme/theme2.xml><?xml version="1.0" encoding="utf-8"?>
<a:theme xmlns:a="http://schemas.openxmlformats.org/drawingml/2006/main" name="Office">
  <a:themeElements>
    <a:clrScheme name="Becker_Colours">
      <a:dk1>
        <a:sysClr val="windowText" lastClr="000000"/>
      </a:dk1>
      <a:lt1>
        <a:sysClr val="window" lastClr="FFFFFF"/>
      </a:lt1>
      <a:dk2>
        <a:srgbClr val="12365B"/>
      </a:dk2>
      <a:lt2>
        <a:srgbClr val="FFFFFF"/>
      </a:lt2>
      <a:accent1>
        <a:srgbClr val="12365B"/>
      </a:accent1>
      <a:accent2>
        <a:srgbClr val="48B5CD"/>
      </a:accent2>
      <a:accent3>
        <a:srgbClr val="ADB0A7"/>
      </a:accent3>
      <a:accent4>
        <a:srgbClr val="E9C816"/>
      </a:accent4>
      <a:accent5>
        <a:srgbClr val="9BBE46"/>
      </a:accent5>
      <a:accent6>
        <a:srgbClr val="B40082"/>
      </a:accent6>
      <a:hlink>
        <a:srgbClr val="000000"/>
      </a:hlink>
      <a:folHlink>
        <a:srgbClr val="000000"/>
      </a:folHlink>
    </a:clrScheme>
    <a:fontScheme name="Becker_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ecker_Colours">
      <a:dk1>
        <a:sysClr val="windowText" lastClr="000000"/>
      </a:dk1>
      <a:lt1>
        <a:sysClr val="window" lastClr="FFFFFF"/>
      </a:lt1>
      <a:dk2>
        <a:srgbClr val="12365B"/>
      </a:dk2>
      <a:lt2>
        <a:srgbClr val="FFFFFF"/>
      </a:lt2>
      <a:accent1>
        <a:srgbClr val="12365B"/>
      </a:accent1>
      <a:accent2>
        <a:srgbClr val="48B5CD"/>
      </a:accent2>
      <a:accent3>
        <a:srgbClr val="ADB0A7"/>
      </a:accent3>
      <a:accent4>
        <a:srgbClr val="E9C816"/>
      </a:accent4>
      <a:accent5>
        <a:srgbClr val="9BBE46"/>
      </a:accent5>
      <a:accent6>
        <a:srgbClr val="B40082"/>
      </a:accent6>
      <a:hlink>
        <a:srgbClr val="000000"/>
      </a:hlink>
      <a:folHlink>
        <a:srgbClr val="000000"/>
      </a:folHlink>
    </a:clrScheme>
    <a:fontScheme name="Becker_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ecker_Master_16_9_IP</Template>
  <TotalTime>0</TotalTime>
  <Words>1707</Words>
  <Application>Microsoft Office PowerPoint</Application>
  <PresentationFormat>Breitbild</PresentationFormat>
  <Paragraphs>492</Paragraphs>
  <Slides>42</Slides>
  <Notes>3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2</vt:i4>
      </vt:variant>
    </vt:vector>
  </HeadingPairs>
  <TitlesOfParts>
    <vt:vector size="47" baseType="lpstr">
      <vt:lpstr>Arial</vt:lpstr>
      <vt:lpstr>Verdana</vt:lpstr>
      <vt:lpstr>Wingdings</vt:lpstr>
      <vt:lpstr>Office</vt:lpstr>
      <vt:lpstr>think-cell Folie</vt:lpstr>
      <vt:lpstr>Becker</vt:lpstr>
      <vt:lpstr>German made</vt:lpstr>
      <vt:lpstr>U5.</vt:lpstr>
      <vt:lpstr>U5.</vt:lpstr>
      <vt:lpstr>PowerPoint-Präsentation</vt:lpstr>
      <vt:lpstr>U5.77/101</vt:lpstr>
      <vt:lpstr>U5.166/201/301</vt:lpstr>
      <vt:lpstr>U5.</vt:lpstr>
      <vt:lpstr>U5.71/101</vt:lpstr>
      <vt:lpstr>U5.71/101</vt:lpstr>
      <vt:lpstr>accessories</vt:lpstr>
      <vt:lpstr>gas ballast valve</vt:lpstr>
      <vt:lpstr>external</vt:lpstr>
      <vt:lpstr>U5.</vt:lpstr>
      <vt:lpstr>U5.</vt:lpstr>
      <vt:lpstr>U5.300</vt:lpstr>
      <vt:lpstr>U5.</vt:lpstr>
      <vt:lpstr>U5.</vt:lpstr>
      <vt:lpstr>U5.</vt:lpstr>
      <vt:lpstr>PowerPoint-Präsentation</vt:lpstr>
      <vt:lpstr>vs. R5 RA 63F</vt:lpstr>
      <vt:lpstr>vs. R5 RA 100F</vt:lpstr>
      <vt:lpstr>vs. R5 RA 160 D</vt:lpstr>
      <vt:lpstr>vs. R5 RA 202 D</vt:lpstr>
      <vt:lpstr>vs. R5 RA 302 D vs. R5 RD 360</vt:lpstr>
      <vt:lpstr>vs. U4.300 vs. U4.250</vt:lpstr>
      <vt:lpstr>vs. R5 RA 0063 F</vt:lpstr>
      <vt:lpstr>vs. R5 RA 0063 F</vt:lpstr>
      <vt:lpstr>vs. R5 RA 0100 F</vt:lpstr>
      <vt:lpstr>vs. R5 RA 0100 F</vt:lpstr>
      <vt:lpstr>vs. R5 RA 0160 D</vt:lpstr>
      <vt:lpstr>vs. R5 RA 0160 D</vt:lpstr>
      <vt:lpstr>vs. R5 RA 0202 D</vt:lpstr>
      <vt:lpstr>vs. R5 RA 0202 D</vt:lpstr>
      <vt:lpstr>vs. R5 RA 0302 D</vt:lpstr>
      <vt:lpstr>vs. R5 RA 0302 F</vt:lpstr>
      <vt:lpstr>vs. U4</vt:lpstr>
      <vt:lpstr>vs. U4</vt:lpstr>
      <vt:lpstr>PowerPoint-Präsentation</vt:lpstr>
      <vt:lpstr>PowerPoint-Präsentation</vt:lpstr>
      <vt:lpstr>PowerPoint-Präsentation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 headline on</dc:title>
  <dc:creator>Oliver Weiße | i-pointing</dc:creator>
  <cp:lastModifiedBy>Heckersbruch, Lars</cp:lastModifiedBy>
  <cp:revision>1</cp:revision>
  <dcterms:created xsi:type="dcterms:W3CDTF">2019-09-25T10:56:29Z</dcterms:created>
  <dcterms:modified xsi:type="dcterms:W3CDTF">2021-03-04T12:18:48Z</dcterms:modified>
</cp:coreProperties>
</file>